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3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20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73" r:id="rId2"/>
    <p:sldMasterId id="2147483687" r:id="rId3"/>
    <p:sldMasterId id="2147483696" r:id="rId4"/>
  </p:sldMasterIdLst>
  <p:notesMasterIdLst>
    <p:notesMasterId r:id="rId49"/>
  </p:notesMasterIdLst>
  <p:sldIdLst>
    <p:sldId id="1722" r:id="rId5"/>
    <p:sldId id="4642" r:id="rId6"/>
    <p:sldId id="1731" r:id="rId7"/>
    <p:sldId id="1635" r:id="rId8"/>
    <p:sldId id="2260" r:id="rId9"/>
    <p:sldId id="2261" r:id="rId10"/>
    <p:sldId id="4730" r:id="rId11"/>
    <p:sldId id="4630" r:id="rId12"/>
    <p:sldId id="4705" r:id="rId13"/>
    <p:sldId id="1726" r:id="rId14"/>
    <p:sldId id="4627" r:id="rId15"/>
    <p:sldId id="1728" r:id="rId16"/>
    <p:sldId id="4738" r:id="rId17"/>
    <p:sldId id="2262" r:id="rId18"/>
    <p:sldId id="4739" r:id="rId19"/>
    <p:sldId id="2263" r:id="rId20"/>
    <p:sldId id="4671" r:id="rId21"/>
    <p:sldId id="2272" r:id="rId22"/>
    <p:sldId id="2274" r:id="rId23"/>
    <p:sldId id="2276" r:id="rId24"/>
    <p:sldId id="4643" r:id="rId25"/>
    <p:sldId id="1482" r:id="rId26"/>
    <p:sldId id="1091" r:id="rId27"/>
    <p:sldId id="4681" r:id="rId28"/>
    <p:sldId id="4682" r:id="rId29"/>
    <p:sldId id="4683" r:id="rId30"/>
    <p:sldId id="4684" r:id="rId31"/>
    <p:sldId id="4685" r:id="rId32"/>
    <p:sldId id="4686" r:id="rId33"/>
    <p:sldId id="4687" r:id="rId34"/>
    <p:sldId id="4741" r:id="rId35"/>
    <p:sldId id="4742" r:id="rId36"/>
    <p:sldId id="2388" r:id="rId37"/>
    <p:sldId id="4751" r:id="rId38"/>
    <p:sldId id="4752" r:id="rId39"/>
    <p:sldId id="4753" r:id="rId40"/>
    <p:sldId id="4754" r:id="rId41"/>
    <p:sldId id="4755" r:id="rId42"/>
    <p:sldId id="4756" r:id="rId43"/>
    <p:sldId id="4757" r:id="rId44"/>
    <p:sldId id="4758" r:id="rId45"/>
    <p:sldId id="4589" r:id="rId46"/>
    <p:sldId id="4743" r:id="rId47"/>
    <p:sldId id="4759" r:id="rId48"/>
  </p:sldIdLst>
  <p:sldSz cx="12192000" cy="6858000"/>
  <p:notesSz cx="6858000" cy="9144000"/>
  <p:embeddedFontLst>
    <p:embeddedFont>
      <p:font typeface="Calibri" panose="020F0502020204030204" pitchFamily="34" charset="0"/>
      <p:regular r:id="rId50"/>
      <p:bold r:id="rId51"/>
      <p:italic r:id="rId52"/>
      <p:boldItalic r:id="rId53"/>
    </p:embeddedFont>
    <p:embeddedFont>
      <p:font typeface="Calibri Light" panose="020F0302020204030204" pitchFamily="34" charset="0"/>
      <p:regular r:id="rId54"/>
      <p:italic r:id="rId55"/>
    </p:embeddedFont>
  </p:embeddedFontLst>
  <p:custDataLst>
    <p:tags r:id="rId5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FF00FF"/>
    <a:srgbClr val="00FF00"/>
    <a:srgbClr val="0000FF"/>
    <a:srgbClr val="000000"/>
    <a:srgbClr val="F3D9DC"/>
    <a:srgbClr val="EFCCCF"/>
    <a:srgbClr val="FFFFFF"/>
    <a:srgbClr val="F7E7E9"/>
    <a:srgbClr val="B0C2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696" autoAdjust="0"/>
    <p:restoredTop sz="96327" autoAdjust="0"/>
  </p:normalViewPr>
  <p:slideViewPr>
    <p:cSldViewPr snapToGrid="0">
      <p:cViewPr varScale="1">
        <p:scale>
          <a:sx n="104" d="100"/>
          <a:sy n="104" d="100"/>
        </p:scale>
        <p:origin x="294" y="132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206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font" Target="fonts/font1.fntdata"/><Relationship Id="rId55" Type="http://schemas.openxmlformats.org/officeDocument/2006/relationships/font" Target="fonts/font6.fntdata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font" Target="fonts/font4.fntdata"/><Relationship Id="rId58" Type="http://schemas.openxmlformats.org/officeDocument/2006/relationships/viewProps" Target="viewProp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ags" Target="tags/tag1.xml"/><Relationship Id="rId8" Type="http://schemas.openxmlformats.org/officeDocument/2006/relationships/slide" Target="slides/slide4.xml"/><Relationship Id="rId51" Type="http://schemas.openxmlformats.org/officeDocument/2006/relationships/font" Target="fonts/font2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theme" Target="theme/theme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notesMaster" Target="notesMasters/notesMaster1.xml"/><Relationship Id="rId57" Type="http://schemas.openxmlformats.org/officeDocument/2006/relationships/presProps" Target="presProp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font" Target="fonts/font3.fntdata"/><Relationship Id="rId6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6661183243453179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P celkem</c:v>
                </c:pt>
              </c:strCache>
            </c:strRef>
          </c:tx>
          <c:spPr>
            <a:ln w="28575" cap="rnd">
              <a:solidFill>
                <a:srgbClr val="000000"/>
              </a:solidFill>
              <a:round/>
            </a:ln>
            <a:effectLst/>
          </c:spPr>
          <c:marker>
            <c:symbol val="none"/>
          </c:marker>
          <c:cat>
            <c:strRef>
              <c:f>List1!$J$1:$NX$1</c:f>
              <c:strCache>
                <c:ptCount val="379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7.XII.21</c:v>
                </c:pt>
                <c:pt idx="362">
                  <c:v>28.XII.21</c:v>
                </c:pt>
                <c:pt idx="363">
                  <c:v>29.XII.21</c:v>
                </c:pt>
                <c:pt idx="364">
                  <c:v>30.XII.21</c:v>
                </c:pt>
                <c:pt idx="365">
                  <c:v>31.XII.21</c:v>
                </c:pt>
                <c:pt idx="366">
                  <c:v>2.I.22</c:v>
                </c:pt>
                <c:pt idx="367">
                  <c:v>3.I.22</c:v>
                </c:pt>
                <c:pt idx="368">
                  <c:v>4.I.22</c:v>
                </c:pt>
                <c:pt idx="369">
                  <c:v>5.I.22</c:v>
                </c:pt>
                <c:pt idx="370">
                  <c:v>6.I.22</c:v>
                </c:pt>
                <c:pt idx="371">
                  <c:v>7.I.22</c:v>
                </c:pt>
                <c:pt idx="372">
                  <c:v>8.I.22</c:v>
                </c:pt>
                <c:pt idx="373">
                  <c:v>9.I.22</c:v>
                </c:pt>
                <c:pt idx="374">
                  <c:v>10.I.22</c:v>
                </c:pt>
                <c:pt idx="375">
                  <c:v>11.I.22</c:v>
                </c:pt>
                <c:pt idx="376">
                  <c:v>12.I.22</c:v>
                </c:pt>
                <c:pt idx="377">
                  <c:v>13.I.22</c:v>
                </c:pt>
                <c:pt idx="378">
                  <c:v>14.I.22</c:v>
                </c:pt>
              </c:strCache>
            </c:strRef>
          </c:cat>
          <c:val>
            <c:numRef>
              <c:f>List1!$J$2:$NX$2</c:f>
              <c:numCache>
                <c:formatCode>General</c:formatCode>
                <c:ptCount val="379"/>
                <c:pt idx="0">
                  <c:v>2944</c:v>
                </c:pt>
                <c:pt idx="1">
                  <c:v>5611</c:v>
                </c:pt>
                <c:pt idx="2">
                  <c:v>8316</c:v>
                </c:pt>
                <c:pt idx="3">
                  <c:v>9208</c:v>
                </c:pt>
                <c:pt idx="4">
                  <c:v>9445</c:v>
                </c:pt>
                <c:pt idx="5">
                  <c:v>10606</c:v>
                </c:pt>
                <c:pt idx="6">
                  <c:v>11447</c:v>
                </c:pt>
                <c:pt idx="7">
                  <c:v>14616</c:v>
                </c:pt>
                <c:pt idx="8">
                  <c:v>18537</c:v>
                </c:pt>
                <c:pt idx="9">
                  <c:v>23465</c:v>
                </c:pt>
                <c:pt idx="10">
                  <c:v>29297</c:v>
                </c:pt>
                <c:pt idx="11">
                  <c:v>36085</c:v>
                </c:pt>
                <c:pt idx="12">
                  <c:v>37248</c:v>
                </c:pt>
                <c:pt idx="13">
                  <c:v>38206</c:v>
                </c:pt>
                <c:pt idx="14">
                  <c:v>44621</c:v>
                </c:pt>
                <c:pt idx="15">
                  <c:v>52043</c:v>
                </c:pt>
                <c:pt idx="16">
                  <c:v>58650</c:v>
                </c:pt>
                <c:pt idx="17">
                  <c:v>65632</c:v>
                </c:pt>
                <c:pt idx="18">
                  <c:v>71829</c:v>
                </c:pt>
                <c:pt idx="19">
                  <c:v>72765</c:v>
                </c:pt>
                <c:pt idx="20">
                  <c:v>73313</c:v>
                </c:pt>
                <c:pt idx="21">
                  <c:v>78002</c:v>
                </c:pt>
                <c:pt idx="22">
                  <c:v>81804</c:v>
                </c:pt>
                <c:pt idx="23">
                  <c:v>85522</c:v>
                </c:pt>
                <c:pt idx="24">
                  <c:v>88913</c:v>
                </c:pt>
                <c:pt idx="25">
                  <c:v>91804</c:v>
                </c:pt>
                <c:pt idx="26">
                  <c:v>92194</c:v>
                </c:pt>
                <c:pt idx="27">
                  <c:v>92430</c:v>
                </c:pt>
                <c:pt idx="28">
                  <c:v>94037</c:v>
                </c:pt>
                <c:pt idx="29">
                  <c:v>95804</c:v>
                </c:pt>
                <c:pt idx="30">
                  <c:v>97253</c:v>
                </c:pt>
                <c:pt idx="31">
                  <c:v>98642</c:v>
                </c:pt>
                <c:pt idx="32">
                  <c:v>99922</c:v>
                </c:pt>
                <c:pt idx="33">
                  <c:v>99993</c:v>
                </c:pt>
                <c:pt idx="34">
                  <c:v>100064</c:v>
                </c:pt>
                <c:pt idx="35">
                  <c:v>100958</c:v>
                </c:pt>
                <c:pt idx="36">
                  <c:v>101826</c:v>
                </c:pt>
                <c:pt idx="37">
                  <c:v>102643</c:v>
                </c:pt>
                <c:pt idx="38">
                  <c:v>103353</c:v>
                </c:pt>
                <c:pt idx="39">
                  <c:v>104281</c:v>
                </c:pt>
                <c:pt idx="40">
                  <c:v>104332</c:v>
                </c:pt>
                <c:pt idx="41">
                  <c:v>104383</c:v>
                </c:pt>
                <c:pt idx="42">
                  <c:v>105025</c:v>
                </c:pt>
                <c:pt idx="43">
                  <c:v>105680</c:v>
                </c:pt>
                <c:pt idx="44">
                  <c:v>106545</c:v>
                </c:pt>
                <c:pt idx="45">
                  <c:v>107601</c:v>
                </c:pt>
                <c:pt idx="46">
                  <c:v>108805</c:v>
                </c:pt>
                <c:pt idx="47">
                  <c:v>109190</c:v>
                </c:pt>
                <c:pt idx="48">
                  <c:v>109374</c:v>
                </c:pt>
                <c:pt idx="49">
                  <c:v>110698</c:v>
                </c:pt>
                <c:pt idx="50">
                  <c:v>111991</c:v>
                </c:pt>
                <c:pt idx="51">
                  <c:v>113367</c:v>
                </c:pt>
                <c:pt idx="52">
                  <c:v>114932</c:v>
                </c:pt>
                <c:pt idx="53">
                  <c:v>116789</c:v>
                </c:pt>
                <c:pt idx="54">
                  <c:v>117249</c:v>
                </c:pt>
                <c:pt idx="55">
                  <c:v>117412</c:v>
                </c:pt>
                <c:pt idx="56">
                  <c:v>119005</c:v>
                </c:pt>
                <c:pt idx="57">
                  <c:v>121304</c:v>
                </c:pt>
                <c:pt idx="58">
                  <c:v>123802</c:v>
                </c:pt>
                <c:pt idx="59">
                  <c:v>126834</c:v>
                </c:pt>
                <c:pt idx="60">
                  <c:v>129442</c:v>
                </c:pt>
                <c:pt idx="61">
                  <c:v>129751</c:v>
                </c:pt>
                <c:pt idx="62">
                  <c:v>129972</c:v>
                </c:pt>
                <c:pt idx="63">
                  <c:v>132520</c:v>
                </c:pt>
                <c:pt idx="64">
                  <c:v>135278</c:v>
                </c:pt>
                <c:pt idx="65">
                  <c:v>137945</c:v>
                </c:pt>
                <c:pt idx="66">
                  <c:v>140401</c:v>
                </c:pt>
                <c:pt idx="67">
                  <c:v>143370</c:v>
                </c:pt>
                <c:pt idx="68">
                  <c:v>144076</c:v>
                </c:pt>
                <c:pt idx="69">
                  <c:v>144589</c:v>
                </c:pt>
                <c:pt idx="70">
                  <c:v>146537</c:v>
                </c:pt>
                <c:pt idx="71">
                  <c:v>148683</c:v>
                </c:pt>
                <c:pt idx="72">
                  <c:v>150932</c:v>
                </c:pt>
                <c:pt idx="73">
                  <c:v>153935</c:v>
                </c:pt>
                <c:pt idx="74">
                  <c:v>156556</c:v>
                </c:pt>
                <c:pt idx="75">
                  <c:v>157215</c:v>
                </c:pt>
                <c:pt idx="76">
                  <c:v>157784</c:v>
                </c:pt>
                <c:pt idx="77">
                  <c:v>159373</c:v>
                </c:pt>
                <c:pt idx="78">
                  <c:v>161705</c:v>
                </c:pt>
                <c:pt idx="79">
                  <c:v>164022</c:v>
                </c:pt>
                <c:pt idx="80">
                  <c:v>166050</c:v>
                </c:pt>
                <c:pt idx="81">
                  <c:v>168314</c:v>
                </c:pt>
                <c:pt idx="82">
                  <c:v>169188</c:v>
                </c:pt>
                <c:pt idx="83">
                  <c:v>169636</c:v>
                </c:pt>
                <c:pt idx="84">
                  <c:v>170792</c:v>
                </c:pt>
                <c:pt idx="85">
                  <c:v>172031</c:v>
                </c:pt>
                <c:pt idx="86">
                  <c:v>173101</c:v>
                </c:pt>
                <c:pt idx="87">
                  <c:v>174400</c:v>
                </c:pt>
                <c:pt idx="88">
                  <c:v>175778</c:v>
                </c:pt>
                <c:pt idx="89">
                  <c:v>176153</c:v>
                </c:pt>
                <c:pt idx="90">
                  <c:v>176498</c:v>
                </c:pt>
                <c:pt idx="91">
                  <c:v>177282</c:v>
                </c:pt>
                <c:pt idx="92">
                  <c:v>178310</c:v>
                </c:pt>
                <c:pt idx="93">
                  <c:v>179434</c:v>
                </c:pt>
                <c:pt idx="94">
                  <c:v>180538</c:v>
                </c:pt>
                <c:pt idx="95">
                  <c:v>180806</c:v>
                </c:pt>
                <c:pt idx="96">
                  <c:v>180926</c:v>
                </c:pt>
                <c:pt idx="97">
                  <c:v>181042</c:v>
                </c:pt>
                <c:pt idx="98">
                  <c:v>181114</c:v>
                </c:pt>
                <c:pt idx="99">
                  <c:v>181680</c:v>
                </c:pt>
                <c:pt idx="100">
                  <c:v>182354</c:v>
                </c:pt>
                <c:pt idx="101">
                  <c:v>183602</c:v>
                </c:pt>
                <c:pt idx="102">
                  <c:v>184879</c:v>
                </c:pt>
                <c:pt idx="103">
                  <c:v>185256</c:v>
                </c:pt>
                <c:pt idx="104">
                  <c:v>185506</c:v>
                </c:pt>
                <c:pt idx="105">
                  <c:v>186448</c:v>
                </c:pt>
                <c:pt idx="106">
                  <c:v>187262</c:v>
                </c:pt>
                <c:pt idx="107">
                  <c:v>188207</c:v>
                </c:pt>
                <c:pt idx="108">
                  <c:v>189575</c:v>
                </c:pt>
                <c:pt idx="109">
                  <c:v>191124</c:v>
                </c:pt>
                <c:pt idx="110">
                  <c:v>191546</c:v>
                </c:pt>
                <c:pt idx="111">
                  <c:v>191987</c:v>
                </c:pt>
                <c:pt idx="112">
                  <c:v>193092</c:v>
                </c:pt>
                <c:pt idx="113">
                  <c:v>194141</c:v>
                </c:pt>
                <c:pt idx="114">
                  <c:v>195434</c:v>
                </c:pt>
                <c:pt idx="115">
                  <c:v>196907</c:v>
                </c:pt>
                <c:pt idx="116">
                  <c:v>198423</c:v>
                </c:pt>
                <c:pt idx="117">
                  <c:v>198864</c:v>
                </c:pt>
                <c:pt idx="118">
                  <c:v>199238</c:v>
                </c:pt>
                <c:pt idx="119">
                  <c:v>200439</c:v>
                </c:pt>
                <c:pt idx="120">
                  <c:v>201531</c:v>
                </c:pt>
                <c:pt idx="121">
                  <c:v>202923</c:v>
                </c:pt>
                <c:pt idx="122">
                  <c:v>204399</c:v>
                </c:pt>
                <c:pt idx="123">
                  <c:v>205803</c:v>
                </c:pt>
                <c:pt idx="124">
                  <c:v>206140</c:v>
                </c:pt>
                <c:pt idx="125">
                  <c:v>206479</c:v>
                </c:pt>
                <c:pt idx="126">
                  <c:v>207565</c:v>
                </c:pt>
                <c:pt idx="127">
                  <c:v>208670</c:v>
                </c:pt>
                <c:pt idx="128">
                  <c:v>209818</c:v>
                </c:pt>
                <c:pt idx="129">
                  <c:v>211014</c:v>
                </c:pt>
                <c:pt idx="130">
                  <c:v>212322</c:v>
                </c:pt>
                <c:pt idx="131">
                  <c:v>212824</c:v>
                </c:pt>
                <c:pt idx="132">
                  <c:v>213135</c:v>
                </c:pt>
                <c:pt idx="133">
                  <c:v>214109</c:v>
                </c:pt>
                <c:pt idx="134">
                  <c:v>215137</c:v>
                </c:pt>
                <c:pt idx="135">
                  <c:v>216178</c:v>
                </c:pt>
                <c:pt idx="136">
                  <c:v>217322</c:v>
                </c:pt>
                <c:pt idx="137">
                  <c:v>218328</c:v>
                </c:pt>
                <c:pt idx="138">
                  <c:v>218771</c:v>
                </c:pt>
                <c:pt idx="139">
                  <c:v>219059</c:v>
                </c:pt>
                <c:pt idx="140">
                  <c:v>219848</c:v>
                </c:pt>
                <c:pt idx="141">
                  <c:v>220731</c:v>
                </c:pt>
                <c:pt idx="142">
                  <c:v>221642</c:v>
                </c:pt>
                <c:pt idx="143">
                  <c:v>222579</c:v>
                </c:pt>
                <c:pt idx="144">
                  <c:v>223507</c:v>
                </c:pt>
                <c:pt idx="145">
                  <c:v>223861</c:v>
                </c:pt>
                <c:pt idx="146">
                  <c:v>224090</c:v>
                </c:pt>
                <c:pt idx="147">
                  <c:v>224643</c:v>
                </c:pt>
                <c:pt idx="148">
                  <c:v>225274</c:v>
                </c:pt>
                <c:pt idx="149">
                  <c:v>226130</c:v>
                </c:pt>
                <c:pt idx="150">
                  <c:v>226916</c:v>
                </c:pt>
                <c:pt idx="151">
                  <c:v>227744</c:v>
                </c:pt>
                <c:pt idx="152">
                  <c:v>228112</c:v>
                </c:pt>
                <c:pt idx="153">
                  <c:v>228404</c:v>
                </c:pt>
                <c:pt idx="154">
                  <c:v>229098</c:v>
                </c:pt>
                <c:pt idx="155">
                  <c:v>229822</c:v>
                </c:pt>
                <c:pt idx="156">
                  <c:v>230713</c:v>
                </c:pt>
                <c:pt idx="157">
                  <c:v>231553</c:v>
                </c:pt>
                <c:pt idx="158">
                  <c:v>232443</c:v>
                </c:pt>
                <c:pt idx="159">
                  <c:v>232869</c:v>
                </c:pt>
                <c:pt idx="160">
                  <c:v>233277</c:v>
                </c:pt>
                <c:pt idx="161">
                  <c:v>234174</c:v>
                </c:pt>
                <c:pt idx="162">
                  <c:v>235160</c:v>
                </c:pt>
                <c:pt idx="163">
                  <c:v>236086</c:v>
                </c:pt>
                <c:pt idx="164">
                  <c:v>236966</c:v>
                </c:pt>
                <c:pt idx="165">
                  <c:v>237826</c:v>
                </c:pt>
                <c:pt idx="166">
                  <c:v>238354</c:v>
                </c:pt>
                <c:pt idx="167">
                  <c:v>238729</c:v>
                </c:pt>
                <c:pt idx="168">
                  <c:v>239400</c:v>
                </c:pt>
                <c:pt idx="169">
                  <c:v>240165</c:v>
                </c:pt>
                <c:pt idx="170">
                  <c:v>240871</c:v>
                </c:pt>
                <c:pt idx="171">
                  <c:v>241589</c:v>
                </c:pt>
                <c:pt idx="172">
                  <c:v>242266</c:v>
                </c:pt>
                <c:pt idx="173">
                  <c:v>242601</c:v>
                </c:pt>
                <c:pt idx="174">
                  <c:v>242862</c:v>
                </c:pt>
                <c:pt idx="175">
                  <c:v>243377</c:v>
                </c:pt>
                <c:pt idx="176">
                  <c:v>243967</c:v>
                </c:pt>
                <c:pt idx="177">
                  <c:v>244466</c:v>
                </c:pt>
                <c:pt idx="178">
                  <c:v>244969</c:v>
                </c:pt>
                <c:pt idx="179">
                  <c:v>245472</c:v>
                </c:pt>
                <c:pt idx="180">
                  <c:v>245729</c:v>
                </c:pt>
                <c:pt idx="181">
                  <c:v>245922</c:v>
                </c:pt>
                <c:pt idx="182">
                  <c:v>246420</c:v>
                </c:pt>
                <c:pt idx="183">
                  <c:v>246883</c:v>
                </c:pt>
                <c:pt idx="184">
                  <c:v>247366</c:v>
                </c:pt>
                <c:pt idx="185">
                  <c:v>247730</c:v>
                </c:pt>
                <c:pt idx="186">
                  <c:v>248215</c:v>
                </c:pt>
                <c:pt idx="187">
                  <c:v>248313</c:v>
                </c:pt>
                <c:pt idx="188">
                  <c:v>248430</c:v>
                </c:pt>
                <c:pt idx="189">
                  <c:v>248543</c:v>
                </c:pt>
                <c:pt idx="190">
                  <c:v>248644</c:v>
                </c:pt>
                <c:pt idx="191">
                  <c:v>249057</c:v>
                </c:pt>
                <c:pt idx="192">
                  <c:v>249508</c:v>
                </c:pt>
                <c:pt idx="193">
                  <c:v>249954</c:v>
                </c:pt>
                <c:pt idx="194">
                  <c:v>250122</c:v>
                </c:pt>
                <c:pt idx="195">
                  <c:v>250243</c:v>
                </c:pt>
                <c:pt idx="196">
                  <c:v>250689</c:v>
                </c:pt>
                <c:pt idx="197">
                  <c:v>251137</c:v>
                </c:pt>
                <c:pt idx="198">
                  <c:v>251627</c:v>
                </c:pt>
                <c:pt idx="199">
                  <c:v>252126</c:v>
                </c:pt>
                <c:pt idx="200">
                  <c:v>252616</c:v>
                </c:pt>
                <c:pt idx="201">
                  <c:v>252798</c:v>
                </c:pt>
                <c:pt idx="202">
                  <c:v>252945</c:v>
                </c:pt>
                <c:pt idx="203">
                  <c:v>253368</c:v>
                </c:pt>
                <c:pt idx="204">
                  <c:v>253723</c:v>
                </c:pt>
                <c:pt idx="205">
                  <c:v>254193</c:v>
                </c:pt>
                <c:pt idx="206">
                  <c:v>254590</c:v>
                </c:pt>
                <c:pt idx="207">
                  <c:v>254983</c:v>
                </c:pt>
                <c:pt idx="208">
                  <c:v>255095</c:v>
                </c:pt>
                <c:pt idx="209">
                  <c:v>255185</c:v>
                </c:pt>
                <c:pt idx="210">
                  <c:v>255573</c:v>
                </c:pt>
                <c:pt idx="211">
                  <c:v>255995</c:v>
                </c:pt>
                <c:pt idx="212">
                  <c:v>256358</c:v>
                </c:pt>
                <c:pt idx="213">
                  <c:v>256695</c:v>
                </c:pt>
                <c:pt idx="214">
                  <c:v>257117</c:v>
                </c:pt>
                <c:pt idx="215">
                  <c:v>257239</c:v>
                </c:pt>
                <c:pt idx="216">
                  <c:v>257342</c:v>
                </c:pt>
                <c:pt idx="217">
                  <c:v>257625</c:v>
                </c:pt>
                <c:pt idx="218">
                  <c:v>257893</c:v>
                </c:pt>
                <c:pt idx="219">
                  <c:v>258207</c:v>
                </c:pt>
                <c:pt idx="220">
                  <c:v>258473</c:v>
                </c:pt>
                <c:pt idx="221">
                  <c:v>258754</c:v>
                </c:pt>
                <c:pt idx="222">
                  <c:v>258827</c:v>
                </c:pt>
                <c:pt idx="223">
                  <c:v>258891</c:v>
                </c:pt>
                <c:pt idx="224">
                  <c:v>259102</c:v>
                </c:pt>
                <c:pt idx="225">
                  <c:v>259312</c:v>
                </c:pt>
                <c:pt idx="226">
                  <c:v>259475</c:v>
                </c:pt>
                <c:pt idx="227">
                  <c:v>259709</c:v>
                </c:pt>
                <c:pt idx="228">
                  <c:v>259901</c:v>
                </c:pt>
                <c:pt idx="229">
                  <c:v>259958</c:v>
                </c:pt>
                <c:pt idx="230">
                  <c:v>260004</c:v>
                </c:pt>
                <c:pt idx="231">
                  <c:v>260186</c:v>
                </c:pt>
                <c:pt idx="232">
                  <c:v>260368</c:v>
                </c:pt>
                <c:pt idx="233">
                  <c:v>260536</c:v>
                </c:pt>
                <c:pt idx="234">
                  <c:v>260700</c:v>
                </c:pt>
                <c:pt idx="235">
                  <c:v>260947</c:v>
                </c:pt>
                <c:pt idx="236">
                  <c:v>260989</c:v>
                </c:pt>
                <c:pt idx="237">
                  <c:v>261022</c:v>
                </c:pt>
                <c:pt idx="238">
                  <c:v>261224</c:v>
                </c:pt>
                <c:pt idx="239">
                  <c:v>261415</c:v>
                </c:pt>
                <c:pt idx="240">
                  <c:v>261583</c:v>
                </c:pt>
                <c:pt idx="241">
                  <c:v>261745</c:v>
                </c:pt>
                <c:pt idx="242">
                  <c:v>261964</c:v>
                </c:pt>
                <c:pt idx="243">
                  <c:v>262008</c:v>
                </c:pt>
                <c:pt idx="244">
                  <c:v>262041</c:v>
                </c:pt>
                <c:pt idx="245">
                  <c:v>262214</c:v>
                </c:pt>
                <c:pt idx="246">
                  <c:v>262379</c:v>
                </c:pt>
                <c:pt idx="247">
                  <c:v>262504</c:v>
                </c:pt>
                <c:pt idx="248">
                  <c:v>262677</c:v>
                </c:pt>
                <c:pt idx="249">
                  <c:v>262872</c:v>
                </c:pt>
                <c:pt idx="250">
                  <c:v>262907</c:v>
                </c:pt>
                <c:pt idx="251">
                  <c:v>262940</c:v>
                </c:pt>
                <c:pt idx="252">
                  <c:v>263076</c:v>
                </c:pt>
                <c:pt idx="253">
                  <c:v>263166</c:v>
                </c:pt>
                <c:pt idx="254">
                  <c:v>263290</c:v>
                </c:pt>
                <c:pt idx="255">
                  <c:v>263432</c:v>
                </c:pt>
                <c:pt idx="256">
                  <c:v>263578</c:v>
                </c:pt>
                <c:pt idx="257">
                  <c:v>263613</c:v>
                </c:pt>
                <c:pt idx="258">
                  <c:v>263636</c:v>
                </c:pt>
                <c:pt idx="259">
                  <c:v>263747</c:v>
                </c:pt>
                <c:pt idx="260">
                  <c:v>263879</c:v>
                </c:pt>
                <c:pt idx="261">
                  <c:v>263985</c:v>
                </c:pt>
                <c:pt idx="262">
                  <c:v>264106</c:v>
                </c:pt>
                <c:pt idx="263">
                  <c:v>264271</c:v>
                </c:pt>
                <c:pt idx="264">
                  <c:v>264312</c:v>
                </c:pt>
                <c:pt idx="265">
                  <c:v>264325</c:v>
                </c:pt>
                <c:pt idx="266">
                  <c:v>264427</c:v>
                </c:pt>
                <c:pt idx="267">
                  <c:v>264531</c:v>
                </c:pt>
                <c:pt idx="268">
                  <c:v>264626</c:v>
                </c:pt>
                <c:pt idx="269">
                  <c:v>264761</c:v>
                </c:pt>
                <c:pt idx="270">
                  <c:v>264928</c:v>
                </c:pt>
                <c:pt idx="271">
                  <c:v>264960</c:v>
                </c:pt>
                <c:pt idx="272">
                  <c:v>264970</c:v>
                </c:pt>
                <c:pt idx="273">
                  <c:v>265067</c:v>
                </c:pt>
                <c:pt idx="274">
                  <c:v>265075</c:v>
                </c:pt>
                <c:pt idx="275">
                  <c:v>265160</c:v>
                </c:pt>
                <c:pt idx="276">
                  <c:v>265260</c:v>
                </c:pt>
                <c:pt idx="277">
                  <c:v>265352</c:v>
                </c:pt>
                <c:pt idx="278">
                  <c:v>265373</c:v>
                </c:pt>
                <c:pt idx="279">
                  <c:v>265387</c:v>
                </c:pt>
                <c:pt idx="280">
                  <c:v>265456</c:v>
                </c:pt>
                <c:pt idx="281">
                  <c:v>265539</c:v>
                </c:pt>
                <c:pt idx="282">
                  <c:v>265638</c:v>
                </c:pt>
                <c:pt idx="283">
                  <c:v>265708</c:v>
                </c:pt>
                <c:pt idx="284">
                  <c:v>265820</c:v>
                </c:pt>
                <c:pt idx="285">
                  <c:v>265845</c:v>
                </c:pt>
                <c:pt idx="286">
                  <c:v>265857</c:v>
                </c:pt>
                <c:pt idx="287">
                  <c:v>265934</c:v>
                </c:pt>
                <c:pt idx="288">
                  <c:v>266019</c:v>
                </c:pt>
                <c:pt idx="289">
                  <c:v>266100</c:v>
                </c:pt>
                <c:pt idx="290">
                  <c:v>266168</c:v>
                </c:pt>
                <c:pt idx="291">
                  <c:v>266288</c:v>
                </c:pt>
                <c:pt idx="292">
                  <c:v>266319</c:v>
                </c:pt>
                <c:pt idx="293">
                  <c:v>266349</c:v>
                </c:pt>
                <c:pt idx="294">
                  <c:v>266480</c:v>
                </c:pt>
                <c:pt idx="295">
                  <c:v>266575</c:v>
                </c:pt>
                <c:pt idx="296">
                  <c:v>266707</c:v>
                </c:pt>
                <c:pt idx="297">
                  <c:v>266946</c:v>
                </c:pt>
                <c:pt idx="298">
                  <c:v>267253</c:v>
                </c:pt>
                <c:pt idx="299">
                  <c:v>267336</c:v>
                </c:pt>
                <c:pt idx="300">
                  <c:v>267400</c:v>
                </c:pt>
                <c:pt idx="301">
                  <c:v>267662</c:v>
                </c:pt>
                <c:pt idx="302">
                  <c:v>268024</c:v>
                </c:pt>
                <c:pt idx="303">
                  <c:v>268441</c:v>
                </c:pt>
                <c:pt idx="304">
                  <c:v>268524</c:v>
                </c:pt>
                <c:pt idx="305">
                  <c:v>268903</c:v>
                </c:pt>
                <c:pt idx="306">
                  <c:v>269011</c:v>
                </c:pt>
                <c:pt idx="307">
                  <c:v>269081</c:v>
                </c:pt>
                <c:pt idx="308">
                  <c:v>269498</c:v>
                </c:pt>
                <c:pt idx="309">
                  <c:v>269916</c:v>
                </c:pt>
                <c:pt idx="310">
                  <c:v>270333</c:v>
                </c:pt>
                <c:pt idx="311">
                  <c:v>270834</c:v>
                </c:pt>
                <c:pt idx="312">
                  <c:v>271395</c:v>
                </c:pt>
                <c:pt idx="313">
                  <c:v>271550</c:v>
                </c:pt>
                <c:pt idx="314">
                  <c:v>271647</c:v>
                </c:pt>
                <c:pt idx="315">
                  <c:v>272047</c:v>
                </c:pt>
                <c:pt idx="316">
                  <c:v>272387</c:v>
                </c:pt>
                <c:pt idx="317">
                  <c:v>272772</c:v>
                </c:pt>
                <c:pt idx="318">
                  <c:v>273172</c:v>
                </c:pt>
                <c:pt idx="319">
                  <c:v>273707</c:v>
                </c:pt>
                <c:pt idx="320">
                  <c:v>273831</c:v>
                </c:pt>
                <c:pt idx="321">
                  <c:v>273917</c:v>
                </c:pt>
                <c:pt idx="322">
                  <c:v>274337</c:v>
                </c:pt>
                <c:pt idx="323">
                  <c:v>274808</c:v>
                </c:pt>
                <c:pt idx="324">
                  <c:v>274913</c:v>
                </c:pt>
                <c:pt idx="325">
                  <c:v>275421</c:v>
                </c:pt>
                <c:pt idx="326">
                  <c:v>276045</c:v>
                </c:pt>
                <c:pt idx="327">
                  <c:v>276241</c:v>
                </c:pt>
                <c:pt idx="328">
                  <c:v>276383</c:v>
                </c:pt>
                <c:pt idx="329">
                  <c:v>276804</c:v>
                </c:pt>
                <c:pt idx="330">
                  <c:v>277225</c:v>
                </c:pt>
                <c:pt idx="331">
                  <c:v>277689</c:v>
                </c:pt>
                <c:pt idx="332">
                  <c:v>278167</c:v>
                </c:pt>
                <c:pt idx="333">
                  <c:v>278686</c:v>
                </c:pt>
                <c:pt idx="334">
                  <c:v>278836</c:v>
                </c:pt>
                <c:pt idx="335">
                  <c:v>278886</c:v>
                </c:pt>
                <c:pt idx="336">
                  <c:v>279236</c:v>
                </c:pt>
                <c:pt idx="337">
                  <c:v>279571</c:v>
                </c:pt>
                <c:pt idx="338">
                  <c:v>279921</c:v>
                </c:pt>
                <c:pt idx="339">
                  <c:v>280175</c:v>
                </c:pt>
                <c:pt idx="340">
                  <c:v>280439</c:v>
                </c:pt>
                <c:pt idx="341">
                  <c:v>280492</c:v>
                </c:pt>
                <c:pt idx="342">
                  <c:v>280513</c:v>
                </c:pt>
                <c:pt idx="343">
                  <c:v>280706</c:v>
                </c:pt>
                <c:pt idx="344">
                  <c:v>280884</c:v>
                </c:pt>
                <c:pt idx="345">
                  <c:v>281097</c:v>
                </c:pt>
                <c:pt idx="346">
                  <c:v>281265</c:v>
                </c:pt>
                <c:pt idx="347">
                  <c:v>281453</c:v>
                </c:pt>
                <c:pt idx="348">
                  <c:v>281490</c:v>
                </c:pt>
                <c:pt idx="349">
                  <c:v>281516</c:v>
                </c:pt>
                <c:pt idx="350">
                  <c:v>281692</c:v>
                </c:pt>
                <c:pt idx="351">
                  <c:v>281838</c:v>
                </c:pt>
                <c:pt idx="352">
                  <c:v>281977</c:v>
                </c:pt>
                <c:pt idx="353">
                  <c:v>282148</c:v>
                </c:pt>
                <c:pt idx="354">
                  <c:v>282339</c:v>
                </c:pt>
                <c:pt idx="355">
                  <c:v>282394</c:v>
                </c:pt>
                <c:pt idx="356">
                  <c:v>282408</c:v>
                </c:pt>
                <c:pt idx="357">
                  <c:v>282530</c:v>
                </c:pt>
                <c:pt idx="358">
                  <c:v>282636</c:v>
                </c:pt>
                <c:pt idx="359">
                  <c:v>282726</c:v>
                </c:pt>
                <c:pt idx="360">
                  <c:v>282758</c:v>
                </c:pt>
                <c:pt idx="361">
                  <c:v>282820</c:v>
                </c:pt>
                <c:pt idx="362">
                  <c:v>282889</c:v>
                </c:pt>
                <c:pt idx="363">
                  <c:v>282959</c:v>
                </c:pt>
                <c:pt idx="364">
                  <c:v>283035</c:v>
                </c:pt>
                <c:pt idx="365">
                  <c:v>283042</c:v>
                </c:pt>
                <c:pt idx="366">
                  <c:v>283050</c:v>
                </c:pt>
                <c:pt idx="367">
                  <c:v>283129</c:v>
                </c:pt>
                <c:pt idx="368">
                  <c:v>283209</c:v>
                </c:pt>
                <c:pt idx="369">
                  <c:v>283311</c:v>
                </c:pt>
                <c:pt idx="370">
                  <c:v>283427</c:v>
                </c:pt>
                <c:pt idx="371">
                  <c:v>283604</c:v>
                </c:pt>
                <c:pt idx="372">
                  <c:v>283627</c:v>
                </c:pt>
                <c:pt idx="373">
                  <c:v>283645</c:v>
                </c:pt>
                <c:pt idx="374">
                  <c:v>283730</c:v>
                </c:pt>
                <c:pt idx="375">
                  <c:v>283823</c:v>
                </c:pt>
                <c:pt idx="376">
                  <c:v>283930</c:v>
                </c:pt>
                <c:pt idx="377">
                  <c:v>284049</c:v>
                </c:pt>
                <c:pt idx="378">
                  <c:v>2841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ry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cat>
            <c:strRef>
              <c:f>List1!$J$1:$NX$1</c:f>
              <c:strCache>
                <c:ptCount val="379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7.XII.21</c:v>
                </c:pt>
                <c:pt idx="362">
                  <c:v>28.XII.21</c:v>
                </c:pt>
                <c:pt idx="363">
                  <c:v>29.XII.21</c:v>
                </c:pt>
                <c:pt idx="364">
                  <c:v>30.XII.21</c:v>
                </c:pt>
                <c:pt idx="365">
                  <c:v>31.XII.21</c:v>
                </c:pt>
                <c:pt idx="366">
                  <c:v>2.I.22</c:v>
                </c:pt>
                <c:pt idx="367">
                  <c:v>3.I.22</c:v>
                </c:pt>
                <c:pt idx="368">
                  <c:v>4.I.22</c:v>
                </c:pt>
                <c:pt idx="369">
                  <c:v>5.I.22</c:v>
                </c:pt>
                <c:pt idx="370">
                  <c:v>6.I.22</c:v>
                </c:pt>
                <c:pt idx="371">
                  <c:v>7.I.22</c:v>
                </c:pt>
                <c:pt idx="372">
                  <c:v>8.I.22</c:v>
                </c:pt>
                <c:pt idx="373">
                  <c:v>9.I.22</c:v>
                </c:pt>
                <c:pt idx="374">
                  <c:v>10.I.22</c:v>
                </c:pt>
                <c:pt idx="375">
                  <c:v>11.I.22</c:v>
                </c:pt>
                <c:pt idx="376">
                  <c:v>12.I.22</c:v>
                </c:pt>
                <c:pt idx="377">
                  <c:v>13.I.22</c:v>
                </c:pt>
                <c:pt idx="378">
                  <c:v>14.I.22</c:v>
                </c:pt>
              </c:strCache>
            </c:strRef>
          </c:cat>
          <c:val>
            <c:numRef>
              <c:f>List1!$J$3:$NX$3</c:f>
              <c:numCache>
                <c:formatCode>General</c:formatCode>
                <c:ptCount val="379"/>
                <c:pt idx="0">
                  <c:v>1123</c:v>
                </c:pt>
                <c:pt idx="1">
                  <c:v>2233</c:v>
                </c:pt>
                <c:pt idx="2">
                  <c:v>3370</c:v>
                </c:pt>
                <c:pt idx="3">
                  <c:v>3751</c:v>
                </c:pt>
                <c:pt idx="4">
                  <c:v>3870</c:v>
                </c:pt>
                <c:pt idx="5">
                  <c:v>4351</c:v>
                </c:pt>
                <c:pt idx="6">
                  <c:v>4669</c:v>
                </c:pt>
                <c:pt idx="7">
                  <c:v>6016</c:v>
                </c:pt>
                <c:pt idx="8">
                  <c:v>7659</c:v>
                </c:pt>
                <c:pt idx="9">
                  <c:v>9672</c:v>
                </c:pt>
                <c:pt idx="10">
                  <c:v>12227</c:v>
                </c:pt>
                <c:pt idx="11">
                  <c:v>15359</c:v>
                </c:pt>
                <c:pt idx="12">
                  <c:v>15805</c:v>
                </c:pt>
                <c:pt idx="13">
                  <c:v>16160</c:v>
                </c:pt>
                <c:pt idx="14">
                  <c:v>18960</c:v>
                </c:pt>
                <c:pt idx="15">
                  <c:v>22153</c:v>
                </c:pt>
                <c:pt idx="16">
                  <c:v>25017</c:v>
                </c:pt>
                <c:pt idx="17">
                  <c:v>28207</c:v>
                </c:pt>
                <c:pt idx="18">
                  <c:v>30989</c:v>
                </c:pt>
                <c:pt idx="19">
                  <c:v>31370</c:v>
                </c:pt>
                <c:pt idx="20">
                  <c:v>31597</c:v>
                </c:pt>
                <c:pt idx="21">
                  <c:v>33553</c:v>
                </c:pt>
                <c:pt idx="22">
                  <c:v>35242</c:v>
                </c:pt>
                <c:pt idx="23">
                  <c:v>36888</c:v>
                </c:pt>
                <c:pt idx="24">
                  <c:v>38421</c:v>
                </c:pt>
                <c:pt idx="25">
                  <c:v>39731</c:v>
                </c:pt>
                <c:pt idx="26">
                  <c:v>39888</c:v>
                </c:pt>
                <c:pt idx="27">
                  <c:v>39997</c:v>
                </c:pt>
                <c:pt idx="28">
                  <c:v>40642</c:v>
                </c:pt>
                <c:pt idx="29">
                  <c:v>41416</c:v>
                </c:pt>
                <c:pt idx="30">
                  <c:v>42069</c:v>
                </c:pt>
                <c:pt idx="31">
                  <c:v>42677</c:v>
                </c:pt>
                <c:pt idx="32">
                  <c:v>43241</c:v>
                </c:pt>
                <c:pt idx="33">
                  <c:v>43263</c:v>
                </c:pt>
                <c:pt idx="34">
                  <c:v>43281</c:v>
                </c:pt>
                <c:pt idx="35">
                  <c:v>43639</c:v>
                </c:pt>
                <c:pt idx="36">
                  <c:v>43981</c:v>
                </c:pt>
                <c:pt idx="37">
                  <c:v>44342</c:v>
                </c:pt>
                <c:pt idx="38">
                  <c:v>44673</c:v>
                </c:pt>
                <c:pt idx="39">
                  <c:v>45091</c:v>
                </c:pt>
                <c:pt idx="40">
                  <c:v>45113</c:v>
                </c:pt>
                <c:pt idx="41">
                  <c:v>45134</c:v>
                </c:pt>
                <c:pt idx="42">
                  <c:v>45403</c:v>
                </c:pt>
                <c:pt idx="43">
                  <c:v>45725</c:v>
                </c:pt>
                <c:pt idx="44">
                  <c:v>46128</c:v>
                </c:pt>
                <c:pt idx="45">
                  <c:v>46601</c:v>
                </c:pt>
                <c:pt idx="46">
                  <c:v>47134</c:v>
                </c:pt>
                <c:pt idx="47">
                  <c:v>47308</c:v>
                </c:pt>
                <c:pt idx="48">
                  <c:v>47362</c:v>
                </c:pt>
                <c:pt idx="49">
                  <c:v>47914</c:v>
                </c:pt>
                <c:pt idx="50">
                  <c:v>48403</c:v>
                </c:pt>
                <c:pt idx="51">
                  <c:v>48973</c:v>
                </c:pt>
                <c:pt idx="52">
                  <c:v>49642</c:v>
                </c:pt>
                <c:pt idx="53">
                  <c:v>50399</c:v>
                </c:pt>
                <c:pt idx="54">
                  <c:v>50527</c:v>
                </c:pt>
                <c:pt idx="55">
                  <c:v>50586</c:v>
                </c:pt>
                <c:pt idx="56">
                  <c:v>51183</c:v>
                </c:pt>
                <c:pt idx="57">
                  <c:v>51999</c:v>
                </c:pt>
                <c:pt idx="58">
                  <c:v>52822</c:v>
                </c:pt>
                <c:pt idx="59">
                  <c:v>54048</c:v>
                </c:pt>
                <c:pt idx="60">
                  <c:v>55038</c:v>
                </c:pt>
                <c:pt idx="61">
                  <c:v>55114</c:v>
                </c:pt>
                <c:pt idx="62">
                  <c:v>55162</c:v>
                </c:pt>
                <c:pt idx="63">
                  <c:v>56050</c:v>
                </c:pt>
                <c:pt idx="64">
                  <c:v>57002</c:v>
                </c:pt>
                <c:pt idx="65">
                  <c:v>57997</c:v>
                </c:pt>
                <c:pt idx="66">
                  <c:v>58907</c:v>
                </c:pt>
                <c:pt idx="67">
                  <c:v>60096</c:v>
                </c:pt>
                <c:pt idx="68">
                  <c:v>60346</c:v>
                </c:pt>
                <c:pt idx="69">
                  <c:v>60535</c:v>
                </c:pt>
                <c:pt idx="70">
                  <c:v>61314</c:v>
                </c:pt>
                <c:pt idx="71">
                  <c:v>62240</c:v>
                </c:pt>
                <c:pt idx="72">
                  <c:v>63189</c:v>
                </c:pt>
                <c:pt idx="73">
                  <c:v>64516</c:v>
                </c:pt>
                <c:pt idx="74">
                  <c:v>65620</c:v>
                </c:pt>
                <c:pt idx="75">
                  <c:v>65856</c:v>
                </c:pt>
                <c:pt idx="76">
                  <c:v>66099</c:v>
                </c:pt>
                <c:pt idx="77">
                  <c:v>66804</c:v>
                </c:pt>
                <c:pt idx="78">
                  <c:v>67845</c:v>
                </c:pt>
                <c:pt idx="79">
                  <c:v>68867</c:v>
                </c:pt>
                <c:pt idx="80">
                  <c:v>69761</c:v>
                </c:pt>
                <c:pt idx="81">
                  <c:v>70737</c:v>
                </c:pt>
                <c:pt idx="82">
                  <c:v>71097</c:v>
                </c:pt>
                <c:pt idx="83">
                  <c:v>71269</c:v>
                </c:pt>
                <c:pt idx="84">
                  <c:v>71802</c:v>
                </c:pt>
                <c:pt idx="85">
                  <c:v>72354</c:v>
                </c:pt>
                <c:pt idx="86">
                  <c:v>72860</c:v>
                </c:pt>
                <c:pt idx="87">
                  <c:v>73419</c:v>
                </c:pt>
                <c:pt idx="88">
                  <c:v>74000</c:v>
                </c:pt>
                <c:pt idx="89">
                  <c:v>74152</c:v>
                </c:pt>
                <c:pt idx="90">
                  <c:v>74319</c:v>
                </c:pt>
                <c:pt idx="91">
                  <c:v>74667</c:v>
                </c:pt>
                <c:pt idx="92">
                  <c:v>75113</c:v>
                </c:pt>
                <c:pt idx="93">
                  <c:v>75581</c:v>
                </c:pt>
                <c:pt idx="94">
                  <c:v>76035</c:v>
                </c:pt>
                <c:pt idx="95">
                  <c:v>76140</c:v>
                </c:pt>
                <c:pt idx="96">
                  <c:v>76182</c:v>
                </c:pt>
                <c:pt idx="97">
                  <c:v>76231</c:v>
                </c:pt>
                <c:pt idx="98">
                  <c:v>76267</c:v>
                </c:pt>
                <c:pt idx="99">
                  <c:v>76513</c:v>
                </c:pt>
                <c:pt idx="100">
                  <c:v>76831</c:v>
                </c:pt>
                <c:pt idx="101">
                  <c:v>77370</c:v>
                </c:pt>
                <c:pt idx="102">
                  <c:v>77944</c:v>
                </c:pt>
                <c:pt idx="103">
                  <c:v>78103</c:v>
                </c:pt>
                <c:pt idx="104">
                  <c:v>78204</c:v>
                </c:pt>
                <c:pt idx="105">
                  <c:v>78631</c:v>
                </c:pt>
                <c:pt idx="106">
                  <c:v>79010</c:v>
                </c:pt>
                <c:pt idx="107">
                  <c:v>79464</c:v>
                </c:pt>
                <c:pt idx="108">
                  <c:v>80124</c:v>
                </c:pt>
                <c:pt idx="109">
                  <c:v>80850</c:v>
                </c:pt>
                <c:pt idx="110">
                  <c:v>81054</c:v>
                </c:pt>
                <c:pt idx="111">
                  <c:v>81246</c:v>
                </c:pt>
                <c:pt idx="112">
                  <c:v>81767</c:v>
                </c:pt>
                <c:pt idx="113">
                  <c:v>82271</c:v>
                </c:pt>
                <c:pt idx="114">
                  <c:v>82930</c:v>
                </c:pt>
                <c:pt idx="115">
                  <c:v>83655</c:v>
                </c:pt>
                <c:pt idx="116">
                  <c:v>84366</c:v>
                </c:pt>
                <c:pt idx="117">
                  <c:v>84566</c:v>
                </c:pt>
                <c:pt idx="118">
                  <c:v>84754</c:v>
                </c:pt>
                <c:pt idx="119">
                  <c:v>85360</c:v>
                </c:pt>
                <c:pt idx="120">
                  <c:v>85908</c:v>
                </c:pt>
                <c:pt idx="121">
                  <c:v>86611</c:v>
                </c:pt>
                <c:pt idx="122">
                  <c:v>87368</c:v>
                </c:pt>
                <c:pt idx="123">
                  <c:v>88015</c:v>
                </c:pt>
                <c:pt idx="124">
                  <c:v>88169</c:v>
                </c:pt>
                <c:pt idx="125">
                  <c:v>88322</c:v>
                </c:pt>
                <c:pt idx="126">
                  <c:v>88831</c:v>
                </c:pt>
                <c:pt idx="127">
                  <c:v>89352</c:v>
                </c:pt>
                <c:pt idx="128">
                  <c:v>89877</c:v>
                </c:pt>
                <c:pt idx="129">
                  <c:v>90424</c:v>
                </c:pt>
                <c:pt idx="130">
                  <c:v>90996</c:v>
                </c:pt>
                <c:pt idx="131">
                  <c:v>91213</c:v>
                </c:pt>
                <c:pt idx="132">
                  <c:v>91320</c:v>
                </c:pt>
                <c:pt idx="133">
                  <c:v>91718</c:v>
                </c:pt>
                <c:pt idx="134">
                  <c:v>92197</c:v>
                </c:pt>
                <c:pt idx="135">
                  <c:v>92630</c:v>
                </c:pt>
                <c:pt idx="136">
                  <c:v>93065</c:v>
                </c:pt>
                <c:pt idx="137">
                  <c:v>93432</c:v>
                </c:pt>
                <c:pt idx="138">
                  <c:v>93594</c:v>
                </c:pt>
                <c:pt idx="139">
                  <c:v>93698</c:v>
                </c:pt>
                <c:pt idx="140">
                  <c:v>94015</c:v>
                </c:pt>
                <c:pt idx="141">
                  <c:v>94388</c:v>
                </c:pt>
                <c:pt idx="142">
                  <c:v>94749</c:v>
                </c:pt>
                <c:pt idx="143">
                  <c:v>95142</c:v>
                </c:pt>
                <c:pt idx="144">
                  <c:v>95506</c:v>
                </c:pt>
                <c:pt idx="145">
                  <c:v>95651</c:v>
                </c:pt>
                <c:pt idx="146">
                  <c:v>95749</c:v>
                </c:pt>
                <c:pt idx="147">
                  <c:v>95964</c:v>
                </c:pt>
                <c:pt idx="148">
                  <c:v>96203</c:v>
                </c:pt>
                <c:pt idx="149">
                  <c:v>96555</c:v>
                </c:pt>
                <c:pt idx="150">
                  <c:v>96884</c:v>
                </c:pt>
                <c:pt idx="151">
                  <c:v>97169</c:v>
                </c:pt>
                <c:pt idx="152">
                  <c:v>97312</c:v>
                </c:pt>
                <c:pt idx="153">
                  <c:v>97403</c:v>
                </c:pt>
                <c:pt idx="154">
                  <c:v>97680</c:v>
                </c:pt>
                <c:pt idx="155">
                  <c:v>97951</c:v>
                </c:pt>
                <c:pt idx="156">
                  <c:v>98295</c:v>
                </c:pt>
                <c:pt idx="157">
                  <c:v>98648</c:v>
                </c:pt>
                <c:pt idx="158">
                  <c:v>98973</c:v>
                </c:pt>
                <c:pt idx="159">
                  <c:v>99110</c:v>
                </c:pt>
                <c:pt idx="160">
                  <c:v>99240</c:v>
                </c:pt>
                <c:pt idx="161">
                  <c:v>99577</c:v>
                </c:pt>
                <c:pt idx="162">
                  <c:v>99917</c:v>
                </c:pt>
                <c:pt idx="163">
                  <c:v>100267</c:v>
                </c:pt>
                <c:pt idx="164">
                  <c:v>100627</c:v>
                </c:pt>
                <c:pt idx="165">
                  <c:v>100928</c:v>
                </c:pt>
                <c:pt idx="166">
                  <c:v>101136</c:v>
                </c:pt>
                <c:pt idx="167">
                  <c:v>101253</c:v>
                </c:pt>
                <c:pt idx="168">
                  <c:v>101497</c:v>
                </c:pt>
                <c:pt idx="169">
                  <c:v>101771</c:v>
                </c:pt>
                <c:pt idx="170">
                  <c:v>102012</c:v>
                </c:pt>
                <c:pt idx="171">
                  <c:v>102283</c:v>
                </c:pt>
                <c:pt idx="172">
                  <c:v>102500</c:v>
                </c:pt>
                <c:pt idx="173">
                  <c:v>102618</c:v>
                </c:pt>
                <c:pt idx="174">
                  <c:v>102712</c:v>
                </c:pt>
                <c:pt idx="175">
                  <c:v>102890</c:v>
                </c:pt>
                <c:pt idx="176">
                  <c:v>103111</c:v>
                </c:pt>
                <c:pt idx="177">
                  <c:v>103300</c:v>
                </c:pt>
                <c:pt idx="178">
                  <c:v>103461</c:v>
                </c:pt>
                <c:pt idx="179">
                  <c:v>103647</c:v>
                </c:pt>
                <c:pt idx="180">
                  <c:v>103738</c:v>
                </c:pt>
                <c:pt idx="181">
                  <c:v>103806</c:v>
                </c:pt>
                <c:pt idx="182">
                  <c:v>103987</c:v>
                </c:pt>
                <c:pt idx="183">
                  <c:v>104155</c:v>
                </c:pt>
                <c:pt idx="184">
                  <c:v>104336</c:v>
                </c:pt>
                <c:pt idx="185">
                  <c:v>104477</c:v>
                </c:pt>
                <c:pt idx="186">
                  <c:v>104670</c:v>
                </c:pt>
                <c:pt idx="187">
                  <c:v>104704</c:v>
                </c:pt>
                <c:pt idx="188">
                  <c:v>104749</c:v>
                </c:pt>
                <c:pt idx="189">
                  <c:v>104798</c:v>
                </c:pt>
                <c:pt idx="190">
                  <c:v>104830</c:v>
                </c:pt>
                <c:pt idx="191">
                  <c:v>104994</c:v>
                </c:pt>
                <c:pt idx="192">
                  <c:v>105172</c:v>
                </c:pt>
                <c:pt idx="193">
                  <c:v>105345</c:v>
                </c:pt>
                <c:pt idx="194">
                  <c:v>105405</c:v>
                </c:pt>
                <c:pt idx="195">
                  <c:v>105454</c:v>
                </c:pt>
                <c:pt idx="196">
                  <c:v>105616</c:v>
                </c:pt>
                <c:pt idx="197">
                  <c:v>105801</c:v>
                </c:pt>
                <c:pt idx="198">
                  <c:v>106004</c:v>
                </c:pt>
                <c:pt idx="199">
                  <c:v>106195</c:v>
                </c:pt>
                <c:pt idx="200">
                  <c:v>106378</c:v>
                </c:pt>
                <c:pt idx="201">
                  <c:v>106428</c:v>
                </c:pt>
                <c:pt idx="202">
                  <c:v>106486</c:v>
                </c:pt>
                <c:pt idx="203">
                  <c:v>106656</c:v>
                </c:pt>
                <c:pt idx="204">
                  <c:v>106805</c:v>
                </c:pt>
                <c:pt idx="205">
                  <c:v>106985</c:v>
                </c:pt>
                <c:pt idx="206">
                  <c:v>107163</c:v>
                </c:pt>
                <c:pt idx="207">
                  <c:v>107310</c:v>
                </c:pt>
                <c:pt idx="208">
                  <c:v>107354</c:v>
                </c:pt>
                <c:pt idx="209">
                  <c:v>107380</c:v>
                </c:pt>
                <c:pt idx="210">
                  <c:v>107548</c:v>
                </c:pt>
                <c:pt idx="211">
                  <c:v>107718</c:v>
                </c:pt>
                <c:pt idx="212">
                  <c:v>107869</c:v>
                </c:pt>
                <c:pt idx="213">
                  <c:v>108018</c:v>
                </c:pt>
                <c:pt idx="214">
                  <c:v>108183</c:v>
                </c:pt>
                <c:pt idx="215">
                  <c:v>108222</c:v>
                </c:pt>
                <c:pt idx="216">
                  <c:v>108262</c:v>
                </c:pt>
                <c:pt idx="217">
                  <c:v>108361</c:v>
                </c:pt>
                <c:pt idx="218">
                  <c:v>108473</c:v>
                </c:pt>
                <c:pt idx="219">
                  <c:v>108602</c:v>
                </c:pt>
                <c:pt idx="220">
                  <c:v>108711</c:v>
                </c:pt>
                <c:pt idx="221">
                  <c:v>108830</c:v>
                </c:pt>
                <c:pt idx="222">
                  <c:v>108852</c:v>
                </c:pt>
                <c:pt idx="223">
                  <c:v>108877</c:v>
                </c:pt>
                <c:pt idx="224">
                  <c:v>108962</c:v>
                </c:pt>
                <c:pt idx="225">
                  <c:v>109041</c:v>
                </c:pt>
                <c:pt idx="226">
                  <c:v>109111</c:v>
                </c:pt>
                <c:pt idx="227">
                  <c:v>109217</c:v>
                </c:pt>
                <c:pt idx="228">
                  <c:v>109280</c:v>
                </c:pt>
                <c:pt idx="229">
                  <c:v>109301</c:v>
                </c:pt>
                <c:pt idx="230">
                  <c:v>109323</c:v>
                </c:pt>
                <c:pt idx="231">
                  <c:v>109406</c:v>
                </c:pt>
                <c:pt idx="232">
                  <c:v>109485</c:v>
                </c:pt>
                <c:pt idx="233">
                  <c:v>109547</c:v>
                </c:pt>
                <c:pt idx="234">
                  <c:v>109617</c:v>
                </c:pt>
                <c:pt idx="235">
                  <c:v>109732</c:v>
                </c:pt>
                <c:pt idx="236">
                  <c:v>109746</c:v>
                </c:pt>
                <c:pt idx="237">
                  <c:v>109757</c:v>
                </c:pt>
                <c:pt idx="238">
                  <c:v>109853</c:v>
                </c:pt>
                <c:pt idx="239">
                  <c:v>109941</c:v>
                </c:pt>
                <c:pt idx="240">
                  <c:v>110008</c:v>
                </c:pt>
                <c:pt idx="241">
                  <c:v>110080</c:v>
                </c:pt>
                <c:pt idx="242">
                  <c:v>110168</c:v>
                </c:pt>
                <c:pt idx="243">
                  <c:v>110184</c:v>
                </c:pt>
                <c:pt idx="244">
                  <c:v>110200</c:v>
                </c:pt>
                <c:pt idx="245">
                  <c:v>110272</c:v>
                </c:pt>
                <c:pt idx="246">
                  <c:v>110333</c:v>
                </c:pt>
                <c:pt idx="247">
                  <c:v>110389</c:v>
                </c:pt>
                <c:pt idx="248">
                  <c:v>110462</c:v>
                </c:pt>
                <c:pt idx="249">
                  <c:v>110538</c:v>
                </c:pt>
                <c:pt idx="250">
                  <c:v>110550</c:v>
                </c:pt>
                <c:pt idx="251">
                  <c:v>110560</c:v>
                </c:pt>
                <c:pt idx="252">
                  <c:v>110619</c:v>
                </c:pt>
                <c:pt idx="253">
                  <c:v>110661</c:v>
                </c:pt>
                <c:pt idx="254">
                  <c:v>110712</c:v>
                </c:pt>
                <c:pt idx="255">
                  <c:v>110768</c:v>
                </c:pt>
                <c:pt idx="256">
                  <c:v>110819</c:v>
                </c:pt>
                <c:pt idx="257">
                  <c:v>110836</c:v>
                </c:pt>
                <c:pt idx="258">
                  <c:v>110843</c:v>
                </c:pt>
                <c:pt idx="259">
                  <c:v>110887</c:v>
                </c:pt>
                <c:pt idx="260">
                  <c:v>110950</c:v>
                </c:pt>
                <c:pt idx="261">
                  <c:v>110998</c:v>
                </c:pt>
                <c:pt idx="262">
                  <c:v>111055</c:v>
                </c:pt>
                <c:pt idx="263">
                  <c:v>111123</c:v>
                </c:pt>
                <c:pt idx="264">
                  <c:v>111140</c:v>
                </c:pt>
                <c:pt idx="265">
                  <c:v>111147</c:v>
                </c:pt>
                <c:pt idx="266">
                  <c:v>111185</c:v>
                </c:pt>
                <c:pt idx="267">
                  <c:v>111234</c:v>
                </c:pt>
                <c:pt idx="268">
                  <c:v>111276</c:v>
                </c:pt>
                <c:pt idx="269">
                  <c:v>111329</c:v>
                </c:pt>
                <c:pt idx="270">
                  <c:v>111401</c:v>
                </c:pt>
                <c:pt idx="271">
                  <c:v>111411</c:v>
                </c:pt>
                <c:pt idx="272">
                  <c:v>111415</c:v>
                </c:pt>
                <c:pt idx="273">
                  <c:v>111458</c:v>
                </c:pt>
                <c:pt idx="274">
                  <c:v>111460</c:v>
                </c:pt>
                <c:pt idx="275">
                  <c:v>111501</c:v>
                </c:pt>
                <c:pt idx="276">
                  <c:v>111540</c:v>
                </c:pt>
                <c:pt idx="277">
                  <c:v>111574</c:v>
                </c:pt>
                <c:pt idx="278">
                  <c:v>111581</c:v>
                </c:pt>
                <c:pt idx="279">
                  <c:v>111588</c:v>
                </c:pt>
                <c:pt idx="280">
                  <c:v>111616</c:v>
                </c:pt>
                <c:pt idx="281">
                  <c:v>111663</c:v>
                </c:pt>
                <c:pt idx="282">
                  <c:v>111712</c:v>
                </c:pt>
                <c:pt idx="283">
                  <c:v>111740</c:v>
                </c:pt>
                <c:pt idx="284">
                  <c:v>111790</c:v>
                </c:pt>
                <c:pt idx="285">
                  <c:v>111800</c:v>
                </c:pt>
                <c:pt idx="286">
                  <c:v>111805</c:v>
                </c:pt>
                <c:pt idx="287">
                  <c:v>111835</c:v>
                </c:pt>
                <c:pt idx="288">
                  <c:v>111856</c:v>
                </c:pt>
                <c:pt idx="289">
                  <c:v>111893</c:v>
                </c:pt>
                <c:pt idx="290">
                  <c:v>111923</c:v>
                </c:pt>
                <c:pt idx="291">
                  <c:v>111968</c:v>
                </c:pt>
                <c:pt idx="292">
                  <c:v>111980</c:v>
                </c:pt>
                <c:pt idx="293">
                  <c:v>111997</c:v>
                </c:pt>
                <c:pt idx="294">
                  <c:v>112049</c:v>
                </c:pt>
                <c:pt idx="295">
                  <c:v>112105</c:v>
                </c:pt>
                <c:pt idx="296">
                  <c:v>112164</c:v>
                </c:pt>
                <c:pt idx="297">
                  <c:v>112278</c:v>
                </c:pt>
                <c:pt idx="298">
                  <c:v>112402</c:v>
                </c:pt>
                <c:pt idx="299">
                  <c:v>112428</c:v>
                </c:pt>
                <c:pt idx="300">
                  <c:v>112452</c:v>
                </c:pt>
                <c:pt idx="301">
                  <c:v>112576</c:v>
                </c:pt>
                <c:pt idx="302">
                  <c:v>112744</c:v>
                </c:pt>
                <c:pt idx="303">
                  <c:v>112944</c:v>
                </c:pt>
                <c:pt idx="304">
                  <c:v>112981</c:v>
                </c:pt>
                <c:pt idx="305">
                  <c:v>113145</c:v>
                </c:pt>
                <c:pt idx="306">
                  <c:v>113191</c:v>
                </c:pt>
                <c:pt idx="307">
                  <c:v>113223</c:v>
                </c:pt>
                <c:pt idx="308">
                  <c:v>113392</c:v>
                </c:pt>
                <c:pt idx="309">
                  <c:v>113593</c:v>
                </c:pt>
                <c:pt idx="310">
                  <c:v>113783</c:v>
                </c:pt>
                <c:pt idx="311">
                  <c:v>114016</c:v>
                </c:pt>
                <c:pt idx="312">
                  <c:v>114263</c:v>
                </c:pt>
                <c:pt idx="313">
                  <c:v>114321</c:v>
                </c:pt>
                <c:pt idx="314">
                  <c:v>114359</c:v>
                </c:pt>
                <c:pt idx="315">
                  <c:v>114545</c:v>
                </c:pt>
                <c:pt idx="316">
                  <c:v>114700</c:v>
                </c:pt>
                <c:pt idx="317">
                  <c:v>114888</c:v>
                </c:pt>
                <c:pt idx="318">
                  <c:v>115066</c:v>
                </c:pt>
                <c:pt idx="319">
                  <c:v>115271</c:v>
                </c:pt>
                <c:pt idx="320">
                  <c:v>115330</c:v>
                </c:pt>
                <c:pt idx="321">
                  <c:v>115369</c:v>
                </c:pt>
                <c:pt idx="322">
                  <c:v>115559</c:v>
                </c:pt>
                <c:pt idx="323">
                  <c:v>115762</c:v>
                </c:pt>
                <c:pt idx="324">
                  <c:v>115812</c:v>
                </c:pt>
                <c:pt idx="325">
                  <c:v>116035</c:v>
                </c:pt>
                <c:pt idx="326">
                  <c:v>116312</c:v>
                </c:pt>
                <c:pt idx="327">
                  <c:v>116403</c:v>
                </c:pt>
                <c:pt idx="328">
                  <c:v>116470</c:v>
                </c:pt>
                <c:pt idx="329">
                  <c:v>116656</c:v>
                </c:pt>
                <c:pt idx="330">
                  <c:v>116835</c:v>
                </c:pt>
                <c:pt idx="331">
                  <c:v>117062</c:v>
                </c:pt>
                <c:pt idx="332">
                  <c:v>117277</c:v>
                </c:pt>
                <c:pt idx="333">
                  <c:v>117516</c:v>
                </c:pt>
                <c:pt idx="334">
                  <c:v>117578</c:v>
                </c:pt>
                <c:pt idx="335">
                  <c:v>117601</c:v>
                </c:pt>
                <c:pt idx="336">
                  <c:v>117751</c:v>
                </c:pt>
                <c:pt idx="337">
                  <c:v>117911</c:v>
                </c:pt>
                <c:pt idx="338">
                  <c:v>118066</c:v>
                </c:pt>
                <c:pt idx="339">
                  <c:v>118182</c:v>
                </c:pt>
                <c:pt idx="340">
                  <c:v>118296</c:v>
                </c:pt>
                <c:pt idx="341">
                  <c:v>118323</c:v>
                </c:pt>
                <c:pt idx="342">
                  <c:v>118334</c:v>
                </c:pt>
                <c:pt idx="343">
                  <c:v>118434</c:v>
                </c:pt>
                <c:pt idx="344">
                  <c:v>118517</c:v>
                </c:pt>
                <c:pt idx="345">
                  <c:v>118617</c:v>
                </c:pt>
                <c:pt idx="346">
                  <c:v>118692</c:v>
                </c:pt>
                <c:pt idx="347">
                  <c:v>118775</c:v>
                </c:pt>
                <c:pt idx="348">
                  <c:v>118789</c:v>
                </c:pt>
                <c:pt idx="349">
                  <c:v>118800</c:v>
                </c:pt>
                <c:pt idx="350">
                  <c:v>118886</c:v>
                </c:pt>
                <c:pt idx="351">
                  <c:v>118948</c:v>
                </c:pt>
                <c:pt idx="352">
                  <c:v>119028</c:v>
                </c:pt>
                <c:pt idx="353">
                  <c:v>119109</c:v>
                </c:pt>
                <c:pt idx="354">
                  <c:v>119193</c:v>
                </c:pt>
                <c:pt idx="355">
                  <c:v>119218</c:v>
                </c:pt>
                <c:pt idx="356">
                  <c:v>119222</c:v>
                </c:pt>
                <c:pt idx="357">
                  <c:v>119279</c:v>
                </c:pt>
                <c:pt idx="358">
                  <c:v>119319</c:v>
                </c:pt>
                <c:pt idx="359">
                  <c:v>119357</c:v>
                </c:pt>
                <c:pt idx="360">
                  <c:v>119377</c:v>
                </c:pt>
                <c:pt idx="361">
                  <c:v>119404</c:v>
                </c:pt>
                <c:pt idx="362">
                  <c:v>119439</c:v>
                </c:pt>
                <c:pt idx="363">
                  <c:v>119479</c:v>
                </c:pt>
                <c:pt idx="364">
                  <c:v>119514</c:v>
                </c:pt>
                <c:pt idx="365">
                  <c:v>119517</c:v>
                </c:pt>
                <c:pt idx="366">
                  <c:v>119520</c:v>
                </c:pt>
                <c:pt idx="367">
                  <c:v>119564</c:v>
                </c:pt>
                <c:pt idx="368">
                  <c:v>119596</c:v>
                </c:pt>
                <c:pt idx="369">
                  <c:v>119655</c:v>
                </c:pt>
                <c:pt idx="370">
                  <c:v>119710</c:v>
                </c:pt>
                <c:pt idx="371">
                  <c:v>119796</c:v>
                </c:pt>
                <c:pt idx="372">
                  <c:v>119804</c:v>
                </c:pt>
                <c:pt idx="373">
                  <c:v>119809</c:v>
                </c:pt>
                <c:pt idx="374">
                  <c:v>119849</c:v>
                </c:pt>
                <c:pt idx="375">
                  <c:v>119898</c:v>
                </c:pt>
                <c:pt idx="376">
                  <c:v>119945</c:v>
                </c:pt>
                <c:pt idx="377">
                  <c:v>120004</c:v>
                </c:pt>
                <c:pt idx="378">
                  <c:v>1200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P</c:v>
                </c:pt>
              </c:strCache>
            </c:strRef>
          </c:tx>
          <c:spPr>
            <a:ln w="28575" cap="rnd">
              <a:solidFill>
                <a:srgbClr val="A6A6A6"/>
              </a:solidFill>
              <a:round/>
            </a:ln>
            <a:effectLst/>
          </c:spPr>
          <c:marker>
            <c:symbol val="none"/>
          </c:marker>
          <c:cat>
            <c:strRef>
              <c:f>List1!$J$1:$NX$1</c:f>
              <c:strCache>
                <c:ptCount val="379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7.XII.21</c:v>
                </c:pt>
                <c:pt idx="362">
                  <c:v>28.XII.21</c:v>
                </c:pt>
                <c:pt idx="363">
                  <c:v>29.XII.21</c:v>
                </c:pt>
                <c:pt idx="364">
                  <c:v>30.XII.21</c:v>
                </c:pt>
                <c:pt idx="365">
                  <c:v>31.XII.21</c:v>
                </c:pt>
                <c:pt idx="366">
                  <c:v>2.I.22</c:v>
                </c:pt>
                <c:pt idx="367">
                  <c:v>3.I.22</c:v>
                </c:pt>
                <c:pt idx="368">
                  <c:v>4.I.22</c:v>
                </c:pt>
                <c:pt idx="369">
                  <c:v>5.I.22</c:v>
                </c:pt>
                <c:pt idx="370">
                  <c:v>6.I.22</c:v>
                </c:pt>
                <c:pt idx="371">
                  <c:v>7.I.22</c:v>
                </c:pt>
                <c:pt idx="372">
                  <c:v>8.I.22</c:v>
                </c:pt>
                <c:pt idx="373">
                  <c:v>9.I.22</c:v>
                </c:pt>
                <c:pt idx="374">
                  <c:v>10.I.22</c:v>
                </c:pt>
                <c:pt idx="375">
                  <c:v>11.I.22</c:v>
                </c:pt>
                <c:pt idx="376">
                  <c:v>12.I.22</c:v>
                </c:pt>
                <c:pt idx="377">
                  <c:v>13.I.22</c:v>
                </c:pt>
                <c:pt idx="378">
                  <c:v>14.I.22</c:v>
                </c:pt>
              </c:strCache>
            </c:strRef>
          </c:cat>
          <c:val>
            <c:numRef>
              <c:f>List1!$J$4:$NX$4</c:f>
              <c:numCache>
                <c:formatCode>General</c:formatCode>
                <c:ptCount val="379"/>
                <c:pt idx="0">
                  <c:v>641</c:v>
                </c:pt>
                <c:pt idx="1">
                  <c:v>1249</c:v>
                </c:pt>
                <c:pt idx="2">
                  <c:v>1874</c:v>
                </c:pt>
                <c:pt idx="3">
                  <c:v>2047</c:v>
                </c:pt>
                <c:pt idx="4">
                  <c:v>2076</c:v>
                </c:pt>
                <c:pt idx="5">
                  <c:v>2364</c:v>
                </c:pt>
                <c:pt idx="6">
                  <c:v>2575</c:v>
                </c:pt>
                <c:pt idx="7">
                  <c:v>3202</c:v>
                </c:pt>
                <c:pt idx="8">
                  <c:v>4165</c:v>
                </c:pt>
                <c:pt idx="9">
                  <c:v>5583</c:v>
                </c:pt>
                <c:pt idx="10">
                  <c:v>7184</c:v>
                </c:pt>
                <c:pt idx="11">
                  <c:v>9031</c:v>
                </c:pt>
                <c:pt idx="12">
                  <c:v>9339</c:v>
                </c:pt>
                <c:pt idx="13">
                  <c:v>9649</c:v>
                </c:pt>
                <c:pt idx="14">
                  <c:v>11516</c:v>
                </c:pt>
                <c:pt idx="15">
                  <c:v>13798</c:v>
                </c:pt>
                <c:pt idx="16">
                  <c:v>15839</c:v>
                </c:pt>
                <c:pt idx="17">
                  <c:v>17728</c:v>
                </c:pt>
                <c:pt idx="18">
                  <c:v>19340</c:v>
                </c:pt>
                <c:pt idx="19">
                  <c:v>19560</c:v>
                </c:pt>
                <c:pt idx="20">
                  <c:v>19656</c:v>
                </c:pt>
                <c:pt idx="21">
                  <c:v>20831</c:v>
                </c:pt>
                <c:pt idx="22">
                  <c:v>21764</c:v>
                </c:pt>
                <c:pt idx="23">
                  <c:v>22708</c:v>
                </c:pt>
                <c:pt idx="24">
                  <c:v>23566</c:v>
                </c:pt>
                <c:pt idx="25">
                  <c:v>24317</c:v>
                </c:pt>
                <c:pt idx="26">
                  <c:v>24381</c:v>
                </c:pt>
                <c:pt idx="27">
                  <c:v>24426</c:v>
                </c:pt>
                <c:pt idx="28">
                  <c:v>24877</c:v>
                </c:pt>
                <c:pt idx="29">
                  <c:v>25331</c:v>
                </c:pt>
                <c:pt idx="30">
                  <c:v>25728</c:v>
                </c:pt>
                <c:pt idx="31">
                  <c:v>26131</c:v>
                </c:pt>
                <c:pt idx="32">
                  <c:v>26515</c:v>
                </c:pt>
                <c:pt idx="33">
                  <c:v>26539</c:v>
                </c:pt>
                <c:pt idx="34">
                  <c:v>26571</c:v>
                </c:pt>
                <c:pt idx="35">
                  <c:v>26863</c:v>
                </c:pt>
                <c:pt idx="36">
                  <c:v>27153</c:v>
                </c:pt>
                <c:pt idx="37">
                  <c:v>27386</c:v>
                </c:pt>
                <c:pt idx="38">
                  <c:v>27570</c:v>
                </c:pt>
                <c:pt idx="39">
                  <c:v>27805</c:v>
                </c:pt>
                <c:pt idx="40">
                  <c:v>27814</c:v>
                </c:pt>
                <c:pt idx="41">
                  <c:v>27832</c:v>
                </c:pt>
                <c:pt idx="42">
                  <c:v>28069</c:v>
                </c:pt>
                <c:pt idx="43">
                  <c:v>28264</c:v>
                </c:pt>
                <c:pt idx="44">
                  <c:v>28531</c:v>
                </c:pt>
                <c:pt idx="45">
                  <c:v>28882</c:v>
                </c:pt>
                <c:pt idx="46">
                  <c:v>29274</c:v>
                </c:pt>
                <c:pt idx="47">
                  <c:v>29386</c:v>
                </c:pt>
                <c:pt idx="48">
                  <c:v>29452</c:v>
                </c:pt>
                <c:pt idx="49">
                  <c:v>29868</c:v>
                </c:pt>
                <c:pt idx="50">
                  <c:v>30374</c:v>
                </c:pt>
                <c:pt idx="51">
                  <c:v>30919</c:v>
                </c:pt>
                <c:pt idx="52">
                  <c:v>31477</c:v>
                </c:pt>
                <c:pt idx="53">
                  <c:v>32131</c:v>
                </c:pt>
                <c:pt idx="54">
                  <c:v>32357</c:v>
                </c:pt>
                <c:pt idx="55">
                  <c:v>32414</c:v>
                </c:pt>
                <c:pt idx="56">
                  <c:v>33099</c:v>
                </c:pt>
                <c:pt idx="57">
                  <c:v>34101</c:v>
                </c:pt>
                <c:pt idx="58">
                  <c:v>35178</c:v>
                </c:pt>
                <c:pt idx="59">
                  <c:v>36330</c:v>
                </c:pt>
                <c:pt idx="60">
                  <c:v>37405</c:v>
                </c:pt>
                <c:pt idx="61">
                  <c:v>37564</c:v>
                </c:pt>
                <c:pt idx="62">
                  <c:v>37694</c:v>
                </c:pt>
                <c:pt idx="63">
                  <c:v>38807</c:v>
                </c:pt>
                <c:pt idx="64">
                  <c:v>40017</c:v>
                </c:pt>
                <c:pt idx="65">
                  <c:v>41129</c:v>
                </c:pt>
                <c:pt idx="66">
                  <c:v>42131</c:v>
                </c:pt>
                <c:pt idx="67">
                  <c:v>43318</c:v>
                </c:pt>
                <c:pt idx="68">
                  <c:v>43607</c:v>
                </c:pt>
                <c:pt idx="69">
                  <c:v>43822</c:v>
                </c:pt>
                <c:pt idx="70">
                  <c:v>44665</c:v>
                </c:pt>
                <c:pt idx="71">
                  <c:v>45488</c:v>
                </c:pt>
                <c:pt idx="72">
                  <c:v>46385</c:v>
                </c:pt>
                <c:pt idx="73">
                  <c:v>47583</c:v>
                </c:pt>
                <c:pt idx="74">
                  <c:v>48695</c:v>
                </c:pt>
                <c:pt idx="75">
                  <c:v>48979</c:v>
                </c:pt>
                <c:pt idx="76">
                  <c:v>49220</c:v>
                </c:pt>
                <c:pt idx="77">
                  <c:v>49851</c:v>
                </c:pt>
                <c:pt idx="78">
                  <c:v>50780</c:v>
                </c:pt>
                <c:pt idx="79">
                  <c:v>51719</c:v>
                </c:pt>
                <c:pt idx="80">
                  <c:v>52498</c:v>
                </c:pt>
                <c:pt idx="81">
                  <c:v>53455</c:v>
                </c:pt>
                <c:pt idx="82">
                  <c:v>53855</c:v>
                </c:pt>
                <c:pt idx="83">
                  <c:v>54061</c:v>
                </c:pt>
                <c:pt idx="84">
                  <c:v>54510</c:v>
                </c:pt>
                <c:pt idx="85">
                  <c:v>55004</c:v>
                </c:pt>
                <c:pt idx="86">
                  <c:v>55421</c:v>
                </c:pt>
                <c:pt idx="87">
                  <c:v>55967</c:v>
                </c:pt>
                <c:pt idx="88">
                  <c:v>56545</c:v>
                </c:pt>
                <c:pt idx="89">
                  <c:v>56705</c:v>
                </c:pt>
                <c:pt idx="90">
                  <c:v>56841</c:v>
                </c:pt>
                <c:pt idx="91">
                  <c:v>57152</c:v>
                </c:pt>
                <c:pt idx="92">
                  <c:v>57574</c:v>
                </c:pt>
                <c:pt idx="93">
                  <c:v>58070</c:v>
                </c:pt>
                <c:pt idx="94">
                  <c:v>58500</c:v>
                </c:pt>
                <c:pt idx="95">
                  <c:v>58587</c:v>
                </c:pt>
                <c:pt idx="96">
                  <c:v>58645</c:v>
                </c:pt>
                <c:pt idx="97">
                  <c:v>58683</c:v>
                </c:pt>
                <c:pt idx="98">
                  <c:v>58712</c:v>
                </c:pt>
                <c:pt idx="99">
                  <c:v>58942</c:v>
                </c:pt>
                <c:pt idx="100">
                  <c:v>59205</c:v>
                </c:pt>
                <c:pt idx="101">
                  <c:v>59745</c:v>
                </c:pt>
                <c:pt idx="102">
                  <c:v>60248</c:v>
                </c:pt>
                <c:pt idx="103">
                  <c:v>60421</c:v>
                </c:pt>
                <c:pt idx="104">
                  <c:v>60537</c:v>
                </c:pt>
                <c:pt idx="105">
                  <c:v>60916</c:v>
                </c:pt>
                <c:pt idx="106">
                  <c:v>61229</c:v>
                </c:pt>
                <c:pt idx="107">
                  <c:v>61615</c:v>
                </c:pt>
                <c:pt idx="108">
                  <c:v>62166</c:v>
                </c:pt>
                <c:pt idx="109">
                  <c:v>62814</c:v>
                </c:pt>
                <c:pt idx="110">
                  <c:v>62991</c:v>
                </c:pt>
                <c:pt idx="111">
                  <c:v>63185</c:v>
                </c:pt>
                <c:pt idx="112">
                  <c:v>63642</c:v>
                </c:pt>
                <c:pt idx="113">
                  <c:v>64068</c:v>
                </c:pt>
                <c:pt idx="114">
                  <c:v>64568</c:v>
                </c:pt>
                <c:pt idx="115">
                  <c:v>65169</c:v>
                </c:pt>
                <c:pt idx="116">
                  <c:v>65818</c:v>
                </c:pt>
                <c:pt idx="117">
                  <c:v>66003</c:v>
                </c:pt>
                <c:pt idx="118">
                  <c:v>66154</c:v>
                </c:pt>
                <c:pt idx="119">
                  <c:v>66637</c:v>
                </c:pt>
                <c:pt idx="120">
                  <c:v>67060</c:v>
                </c:pt>
                <c:pt idx="121">
                  <c:v>67628</c:v>
                </c:pt>
                <c:pt idx="122">
                  <c:v>68215</c:v>
                </c:pt>
                <c:pt idx="123">
                  <c:v>68833</c:v>
                </c:pt>
                <c:pt idx="124">
                  <c:v>68987</c:v>
                </c:pt>
                <c:pt idx="125">
                  <c:v>69143</c:v>
                </c:pt>
                <c:pt idx="126">
                  <c:v>69599</c:v>
                </c:pt>
                <c:pt idx="127">
                  <c:v>70058</c:v>
                </c:pt>
                <c:pt idx="128">
                  <c:v>70584</c:v>
                </c:pt>
                <c:pt idx="129">
                  <c:v>71116</c:v>
                </c:pt>
                <c:pt idx="130">
                  <c:v>71680</c:v>
                </c:pt>
                <c:pt idx="131">
                  <c:v>71903</c:v>
                </c:pt>
                <c:pt idx="132">
                  <c:v>72075</c:v>
                </c:pt>
                <c:pt idx="133">
                  <c:v>72551</c:v>
                </c:pt>
                <c:pt idx="134">
                  <c:v>72984</c:v>
                </c:pt>
                <c:pt idx="135">
                  <c:v>73461</c:v>
                </c:pt>
                <c:pt idx="136">
                  <c:v>74010</c:v>
                </c:pt>
                <c:pt idx="137">
                  <c:v>74522</c:v>
                </c:pt>
                <c:pt idx="138">
                  <c:v>74732</c:v>
                </c:pt>
                <c:pt idx="139">
                  <c:v>74884</c:v>
                </c:pt>
                <c:pt idx="140">
                  <c:v>75274</c:v>
                </c:pt>
                <c:pt idx="141">
                  <c:v>75692</c:v>
                </c:pt>
                <c:pt idx="142">
                  <c:v>76157</c:v>
                </c:pt>
                <c:pt idx="143">
                  <c:v>76602</c:v>
                </c:pt>
                <c:pt idx="144">
                  <c:v>77059</c:v>
                </c:pt>
                <c:pt idx="145">
                  <c:v>77237</c:v>
                </c:pt>
                <c:pt idx="146">
                  <c:v>77353</c:v>
                </c:pt>
                <c:pt idx="147">
                  <c:v>77642</c:v>
                </c:pt>
                <c:pt idx="148">
                  <c:v>77972</c:v>
                </c:pt>
                <c:pt idx="149">
                  <c:v>78384</c:v>
                </c:pt>
                <c:pt idx="150">
                  <c:v>78760</c:v>
                </c:pt>
                <c:pt idx="151">
                  <c:v>79199</c:v>
                </c:pt>
                <c:pt idx="152">
                  <c:v>79387</c:v>
                </c:pt>
                <c:pt idx="153">
                  <c:v>79555</c:v>
                </c:pt>
                <c:pt idx="154">
                  <c:v>79898</c:v>
                </c:pt>
                <c:pt idx="155">
                  <c:v>80270</c:v>
                </c:pt>
                <c:pt idx="156">
                  <c:v>80723</c:v>
                </c:pt>
                <c:pt idx="157">
                  <c:v>81140</c:v>
                </c:pt>
                <c:pt idx="158">
                  <c:v>81607</c:v>
                </c:pt>
                <c:pt idx="159">
                  <c:v>81869</c:v>
                </c:pt>
                <c:pt idx="160">
                  <c:v>82114</c:v>
                </c:pt>
                <c:pt idx="161">
                  <c:v>82593</c:v>
                </c:pt>
                <c:pt idx="162">
                  <c:v>83141</c:v>
                </c:pt>
                <c:pt idx="163">
                  <c:v>83632</c:v>
                </c:pt>
                <c:pt idx="164">
                  <c:v>84066</c:v>
                </c:pt>
                <c:pt idx="165">
                  <c:v>84530</c:v>
                </c:pt>
                <c:pt idx="166">
                  <c:v>84821</c:v>
                </c:pt>
                <c:pt idx="167">
                  <c:v>85049</c:v>
                </c:pt>
                <c:pt idx="168">
                  <c:v>85406</c:v>
                </c:pt>
                <c:pt idx="169">
                  <c:v>85842</c:v>
                </c:pt>
                <c:pt idx="170">
                  <c:v>86232</c:v>
                </c:pt>
                <c:pt idx="171">
                  <c:v>86601</c:v>
                </c:pt>
                <c:pt idx="172">
                  <c:v>86983</c:v>
                </c:pt>
                <c:pt idx="173">
                  <c:v>87172</c:v>
                </c:pt>
                <c:pt idx="174">
                  <c:v>87314</c:v>
                </c:pt>
                <c:pt idx="175">
                  <c:v>87613</c:v>
                </c:pt>
                <c:pt idx="176">
                  <c:v>87932</c:v>
                </c:pt>
                <c:pt idx="177">
                  <c:v>88189</c:v>
                </c:pt>
                <c:pt idx="178">
                  <c:v>88479</c:v>
                </c:pt>
                <c:pt idx="179">
                  <c:v>88739</c:v>
                </c:pt>
                <c:pt idx="180">
                  <c:v>88891</c:v>
                </c:pt>
                <c:pt idx="181">
                  <c:v>89004</c:v>
                </c:pt>
                <c:pt idx="182">
                  <c:v>89277</c:v>
                </c:pt>
                <c:pt idx="183">
                  <c:v>89526</c:v>
                </c:pt>
                <c:pt idx="184">
                  <c:v>89770</c:v>
                </c:pt>
                <c:pt idx="185">
                  <c:v>89949</c:v>
                </c:pt>
                <c:pt idx="186">
                  <c:v>90186</c:v>
                </c:pt>
                <c:pt idx="187">
                  <c:v>90238</c:v>
                </c:pt>
                <c:pt idx="188">
                  <c:v>90298</c:v>
                </c:pt>
                <c:pt idx="189">
                  <c:v>90356</c:v>
                </c:pt>
                <c:pt idx="190">
                  <c:v>90416</c:v>
                </c:pt>
                <c:pt idx="191">
                  <c:v>90625</c:v>
                </c:pt>
                <c:pt idx="192">
                  <c:v>90843</c:v>
                </c:pt>
                <c:pt idx="193">
                  <c:v>91068</c:v>
                </c:pt>
                <c:pt idx="194">
                  <c:v>91161</c:v>
                </c:pt>
                <c:pt idx="195">
                  <c:v>91219</c:v>
                </c:pt>
                <c:pt idx="196">
                  <c:v>91455</c:v>
                </c:pt>
                <c:pt idx="197">
                  <c:v>91675</c:v>
                </c:pt>
                <c:pt idx="198">
                  <c:v>91916</c:v>
                </c:pt>
                <c:pt idx="199">
                  <c:v>92164</c:v>
                </c:pt>
                <c:pt idx="200">
                  <c:v>92416</c:v>
                </c:pt>
                <c:pt idx="201">
                  <c:v>92526</c:v>
                </c:pt>
                <c:pt idx="202">
                  <c:v>92596</c:v>
                </c:pt>
                <c:pt idx="203">
                  <c:v>92800</c:v>
                </c:pt>
                <c:pt idx="204">
                  <c:v>92961</c:v>
                </c:pt>
                <c:pt idx="205">
                  <c:v>93182</c:v>
                </c:pt>
                <c:pt idx="206">
                  <c:v>93363</c:v>
                </c:pt>
                <c:pt idx="207">
                  <c:v>93576</c:v>
                </c:pt>
                <c:pt idx="208">
                  <c:v>93638</c:v>
                </c:pt>
                <c:pt idx="209">
                  <c:v>93693</c:v>
                </c:pt>
                <c:pt idx="210">
                  <c:v>93873</c:v>
                </c:pt>
                <c:pt idx="211">
                  <c:v>94072</c:v>
                </c:pt>
                <c:pt idx="212">
                  <c:v>94249</c:v>
                </c:pt>
                <c:pt idx="213">
                  <c:v>94409</c:v>
                </c:pt>
                <c:pt idx="214">
                  <c:v>94621</c:v>
                </c:pt>
                <c:pt idx="215">
                  <c:v>94687</c:v>
                </c:pt>
                <c:pt idx="216">
                  <c:v>94737</c:v>
                </c:pt>
                <c:pt idx="217">
                  <c:v>94884</c:v>
                </c:pt>
                <c:pt idx="218">
                  <c:v>95014</c:v>
                </c:pt>
                <c:pt idx="219">
                  <c:v>95159</c:v>
                </c:pt>
                <c:pt idx="220">
                  <c:v>95285</c:v>
                </c:pt>
                <c:pt idx="221">
                  <c:v>95414</c:v>
                </c:pt>
                <c:pt idx="222">
                  <c:v>95452</c:v>
                </c:pt>
                <c:pt idx="223">
                  <c:v>95486</c:v>
                </c:pt>
                <c:pt idx="224">
                  <c:v>95590</c:v>
                </c:pt>
                <c:pt idx="225">
                  <c:v>95706</c:v>
                </c:pt>
                <c:pt idx="226">
                  <c:v>95779</c:v>
                </c:pt>
                <c:pt idx="227">
                  <c:v>95884</c:v>
                </c:pt>
                <c:pt idx="228">
                  <c:v>95988</c:v>
                </c:pt>
                <c:pt idx="229">
                  <c:v>96014</c:v>
                </c:pt>
                <c:pt idx="230">
                  <c:v>96033</c:v>
                </c:pt>
                <c:pt idx="231">
                  <c:v>96115</c:v>
                </c:pt>
                <c:pt idx="232">
                  <c:v>96194</c:v>
                </c:pt>
                <c:pt idx="233">
                  <c:v>96277</c:v>
                </c:pt>
                <c:pt idx="234">
                  <c:v>96349</c:v>
                </c:pt>
                <c:pt idx="235">
                  <c:v>96448</c:v>
                </c:pt>
                <c:pt idx="236">
                  <c:v>96466</c:v>
                </c:pt>
                <c:pt idx="237">
                  <c:v>96485</c:v>
                </c:pt>
                <c:pt idx="238">
                  <c:v>96579</c:v>
                </c:pt>
                <c:pt idx="239">
                  <c:v>96654</c:v>
                </c:pt>
                <c:pt idx="240">
                  <c:v>96731</c:v>
                </c:pt>
                <c:pt idx="241">
                  <c:v>96794</c:v>
                </c:pt>
                <c:pt idx="242">
                  <c:v>96897</c:v>
                </c:pt>
                <c:pt idx="243">
                  <c:v>96923</c:v>
                </c:pt>
                <c:pt idx="244">
                  <c:v>96933</c:v>
                </c:pt>
                <c:pt idx="245">
                  <c:v>97012</c:v>
                </c:pt>
                <c:pt idx="246">
                  <c:v>97091</c:v>
                </c:pt>
                <c:pt idx="247">
                  <c:v>97140</c:v>
                </c:pt>
                <c:pt idx="248">
                  <c:v>97213</c:v>
                </c:pt>
                <c:pt idx="249">
                  <c:v>97306</c:v>
                </c:pt>
                <c:pt idx="250">
                  <c:v>97321</c:v>
                </c:pt>
                <c:pt idx="251">
                  <c:v>97339</c:v>
                </c:pt>
                <c:pt idx="252">
                  <c:v>97403</c:v>
                </c:pt>
                <c:pt idx="253">
                  <c:v>97438</c:v>
                </c:pt>
                <c:pt idx="254">
                  <c:v>97491</c:v>
                </c:pt>
                <c:pt idx="255">
                  <c:v>97550</c:v>
                </c:pt>
                <c:pt idx="256">
                  <c:v>97620</c:v>
                </c:pt>
                <c:pt idx="257">
                  <c:v>97636</c:v>
                </c:pt>
                <c:pt idx="258">
                  <c:v>97649</c:v>
                </c:pt>
                <c:pt idx="259">
                  <c:v>97697</c:v>
                </c:pt>
                <c:pt idx="260">
                  <c:v>97748</c:v>
                </c:pt>
                <c:pt idx="261">
                  <c:v>97791</c:v>
                </c:pt>
                <c:pt idx="262">
                  <c:v>97837</c:v>
                </c:pt>
                <c:pt idx="263">
                  <c:v>97909</c:v>
                </c:pt>
                <c:pt idx="264">
                  <c:v>97928</c:v>
                </c:pt>
                <c:pt idx="265">
                  <c:v>97934</c:v>
                </c:pt>
                <c:pt idx="266">
                  <c:v>97978</c:v>
                </c:pt>
                <c:pt idx="267">
                  <c:v>98025</c:v>
                </c:pt>
                <c:pt idx="268">
                  <c:v>98067</c:v>
                </c:pt>
                <c:pt idx="269">
                  <c:v>98125</c:v>
                </c:pt>
                <c:pt idx="270">
                  <c:v>98194</c:v>
                </c:pt>
                <c:pt idx="271">
                  <c:v>98210</c:v>
                </c:pt>
                <c:pt idx="272">
                  <c:v>98216</c:v>
                </c:pt>
                <c:pt idx="273">
                  <c:v>98258</c:v>
                </c:pt>
                <c:pt idx="274">
                  <c:v>98264</c:v>
                </c:pt>
                <c:pt idx="275">
                  <c:v>98291</c:v>
                </c:pt>
                <c:pt idx="276">
                  <c:v>98337</c:v>
                </c:pt>
                <c:pt idx="277">
                  <c:v>98375</c:v>
                </c:pt>
                <c:pt idx="278">
                  <c:v>98383</c:v>
                </c:pt>
                <c:pt idx="279">
                  <c:v>98390</c:v>
                </c:pt>
                <c:pt idx="280">
                  <c:v>98421</c:v>
                </c:pt>
                <c:pt idx="281">
                  <c:v>98450</c:v>
                </c:pt>
                <c:pt idx="282">
                  <c:v>98488</c:v>
                </c:pt>
                <c:pt idx="283">
                  <c:v>98512</c:v>
                </c:pt>
                <c:pt idx="284">
                  <c:v>98560</c:v>
                </c:pt>
                <c:pt idx="285">
                  <c:v>98569</c:v>
                </c:pt>
                <c:pt idx="286">
                  <c:v>98576</c:v>
                </c:pt>
                <c:pt idx="287">
                  <c:v>98604</c:v>
                </c:pt>
                <c:pt idx="288">
                  <c:v>98650</c:v>
                </c:pt>
                <c:pt idx="289">
                  <c:v>98687</c:v>
                </c:pt>
                <c:pt idx="290">
                  <c:v>98715</c:v>
                </c:pt>
                <c:pt idx="291">
                  <c:v>98773</c:v>
                </c:pt>
                <c:pt idx="292">
                  <c:v>98790</c:v>
                </c:pt>
                <c:pt idx="293">
                  <c:v>98801</c:v>
                </c:pt>
                <c:pt idx="294">
                  <c:v>98859</c:v>
                </c:pt>
                <c:pt idx="295">
                  <c:v>98891</c:v>
                </c:pt>
                <c:pt idx="296">
                  <c:v>98950</c:v>
                </c:pt>
                <c:pt idx="297">
                  <c:v>99050</c:v>
                </c:pt>
                <c:pt idx="298">
                  <c:v>99194</c:v>
                </c:pt>
                <c:pt idx="299">
                  <c:v>99244</c:v>
                </c:pt>
                <c:pt idx="300">
                  <c:v>99278</c:v>
                </c:pt>
                <c:pt idx="301">
                  <c:v>99395</c:v>
                </c:pt>
                <c:pt idx="302">
                  <c:v>99552</c:v>
                </c:pt>
                <c:pt idx="303">
                  <c:v>99722</c:v>
                </c:pt>
                <c:pt idx="304">
                  <c:v>99761</c:v>
                </c:pt>
                <c:pt idx="305">
                  <c:v>99942</c:v>
                </c:pt>
                <c:pt idx="306">
                  <c:v>99992</c:v>
                </c:pt>
                <c:pt idx="307">
                  <c:v>100027</c:v>
                </c:pt>
                <c:pt idx="308">
                  <c:v>100231</c:v>
                </c:pt>
                <c:pt idx="309">
                  <c:v>100409</c:v>
                </c:pt>
                <c:pt idx="310">
                  <c:v>100601</c:v>
                </c:pt>
                <c:pt idx="311">
                  <c:v>100810</c:v>
                </c:pt>
                <c:pt idx="312">
                  <c:v>101061</c:v>
                </c:pt>
                <c:pt idx="313">
                  <c:v>101134</c:v>
                </c:pt>
                <c:pt idx="314">
                  <c:v>101178</c:v>
                </c:pt>
                <c:pt idx="315">
                  <c:v>101362</c:v>
                </c:pt>
                <c:pt idx="316">
                  <c:v>101512</c:v>
                </c:pt>
                <c:pt idx="317">
                  <c:v>101676</c:v>
                </c:pt>
                <c:pt idx="318">
                  <c:v>101864</c:v>
                </c:pt>
                <c:pt idx="319">
                  <c:v>102130</c:v>
                </c:pt>
                <c:pt idx="320">
                  <c:v>102184</c:v>
                </c:pt>
                <c:pt idx="321">
                  <c:v>102222</c:v>
                </c:pt>
                <c:pt idx="322">
                  <c:v>102405</c:v>
                </c:pt>
                <c:pt idx="323">
                  <c:v>102617</c:v>
                </c:pt>
                <c:pt idx="324">
                  <c:v>102657</c:v>
                </c:pt>
                <c:pt idx="325">
                  <c:v>102897</c:v>
                </c:pt>
                <c:pt idx="326">
                  <c:v>103176</c:v>
                </c:pt>
                <c:pt idx="327">
                  <c:v>103255</c:v>
                </c:pt>
                <c:pt idx="328">
                  <c:v>103319</c:v>
                </c:pt>
                <c:pt idx="329">
                  <c:v>103506</c:v>
                </c:pt>
                <c:pt idx="330">
                  <c:v>103699</c:v>
                </c:pt>
                <c:pt idx="331">
                  <c:v>103900</c:v>
                </c:pt>
                <c:pt idx="332">
                  <c:v>104112</c:v>
                </c:pt>
                <c:pt idx="333">
                  <c:v>104332</c:v>
                </c:pt>
                <c:pt idx="334">
                  <c:v>104410</c:v>
                </c:pt>
                <c:pt idx="335">
                  <c:v>104432</c:v>
                </c:pt>
                <c:pt idx="336">
                  <c:v>104602</c:v>
                </c:pt>
                <c:pt idx="337">
                  <c:v>104749</c:v>
                </c:pt>
                <c:pt idx="338">
                  <c:v>104910</c:v>
                </c:pt>
                <c:pt idx="339">
                  <c:v>105022</c:v>
                </c:pt>
                <c:pt idx="340">
                  <c:v>105141</c:v>
                </c:pt>
                <c:pt idx="341">
                  <c:v>105163</c:v>
                </c:pt>
                <c:pt idx="342">
                  <c:v>105171</c:v>
                </c:pt>
                <c:pt idx="343">
                  <c:v>105244</c:v>
                </c:pt>
                <c:pt idx="344">
                  <c:v>105321</c:v>
                </c:pt>
                <c:pt idx="345">
                  <c:v>105410</c:v>
                </c:pt>
                <c:pt idx="346">
                  <c:v>105484</c:v>
                </c:pt>
                <c:pt idx="347">
                  <c:v>105570</c:v>
                </c:pt>
                <c:pt idx="348">
                  <c:v>105589</c:v>
                </c:pt>
                <c:pt idx="349">
                  <c:v>105602</c:v>
                </c:pt>
                <c:pt idx="350">
                  <c:v>105679</c:v>
                </c:pt>
                <c:pt idx="351">
                  <c:v>105752</c:v>
                </c:pt>
                <c:pt idx="352">
                  <c:v>105798</c:v>
                </c:pt>
                <c:pt idx="353">
                  <c:v>105871</c:v>
                </c:pt>
                <c:pt idx="354">
                  <c:v>105961</c:v>
                </c:pt>
                <c:pt idx="355">
                  <c:v>105987</c:v>
                </c:pt>
                <c:pt idx="356">
                  <c:v>105995</c:v>
                </c:pt>
                <c:pt idx="357">
                  <c:v>106051</c:v>
                </c:pt>
                <c:pt idx="358">
                  <c:v>106109</c:v>
                </c:pt>
                <c:pt idx="359">
                  <c:v>106148</c:v>
                </c:pt>
                <c:pt idx="360">
                  <c:v>106158</c:v>
                </c:pt>
                <c:pt idx="361">
                  <c:v>106185</c:v>
                </c:pt>
                <c:pt idx="362">
                  <c:v>106214</c:v>
                </c:pt>
                <c:pt idx="363">
                  <c:v>106241</c:v>
                </c:pt>
                <c:pt idx="364">
                  <c:v>106275</c:v>
                </c:pt>
                <c:pt idx="365">
                  <c:v>106277</c:v>
                </c:pt>
                <c:pt idx="366">
                  <c:v>106281</c:v>
                </c:pt>
                <c:pt idx="367">
                  <c:v>106311</c:v>
                </c:pt>
                <c:pt idx="368">
                  <c:v>106354</c:v>
                </c:pt>
                <c:pt idx="369">
                  <c:v>106387</c:v>
                </c:pt>
                <c:pt idx="370">
                  <c:v>106437</c:v>
                </c:pt>
                <c:pt idx="371">
                  <c:v>106512</c:v>
                </c:pt>
                <c:pt idx="372">
                  <c:v>106524</c:v>
                </c:pt>
                <c:pt idx="373">
                  <c:v>106536</c:v>
                </c:pt>
                <c:pt idx="374">
                  <c:v>106573</c:v>
                </c:pt>
                <c:pt idx="375">
                  <c:v>106610</c:v>
                </c:pt>
                <c:pt idx="376">
                  <c:v>106658</c:v>
                </c:pt>
                <c:pt idx="377">
                  <c:v>106706</c:v>
                </c:pt>
                <c:pt idx="378">
                  <c:v>1067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cat>
            <c:strRef>
              <c:f>List1!$J$1:$NX$1</c:f>
              <c:strCache>
                <c:ptCount val="379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7.XII.21</c:v>
                </c:pt>
                <c:pt idx="362">
                  <c:v>28.XII.21</c:v>
                </c:pt>
                <c:pt idx="363">
                  <c:v>29.XII.21</c:v>
                </c:pt>
                <c:pt idx="364">
                  <c:v>30.XII.21</c:v>
                </c:pt>
                <c:pt idx="365">
                  <c:v>31.XII.21</c:v>
                </c:pt>
                <c:pt idx="366">
                  <c:v>2.I.22</c:v>
                </c:pt>
                <c:pt idx="367">
                  <c:v>3.I.22</c:v>
                </c:pt>
                <c:pt idx="368">
                  <c:v>4.I.22</c:v>
                </c:pt>
                <c:pt idx="369">
                  <c:v>5.I.22</c:v>
                </c:pt>
                <c:pt idx="370">
                  <c:v>6.I.22</c:v>
                </c:pt>
                <c:pt idx="371">
                  <c:v>7.I.22</c:v>
                </c:pt>
                <c:pt idx="372">
                  <c:v>8.I.22</c:v>
                </c:pt>
                <c:pt idx="373">
                  <c:v>9.I.22</c:v>
                </c:pt>
                <c:pt idx="374">
                  <c:v>10.I.22</c:v>
                </c:pt>
                <c:pt idx="375">
                  <c:v>11.I.22</c:v>
                </c:pt>
                <c:pt idx="376">
                  <c:v>12.I.22</c:v>
                </c:pt>
                <c:pt idx="377">
                  <c:v>13.I.22</c:v>
                </c:pt>
                <c:pt idx="378">
                  <c:v>14.I.22</c:v>
                </c:pt>
              </c:strCache>
            </c:strRef>
          </c:cat>
          <c:val>
            <c:numRef>
              <c:f>List1!$J$5:$NX$5</c:f>
              <c:numCache>
                <c:formatCode>General</c:formatCode>
                <c:ptCount val="379"/>
                <c:pt idx="0">
                  <c:v>1180</c:v>
                </c:pt>
                <c:pt idx="1">
                  <c:v>2129</c:v>
                </c:pt>
                <c:pt idx="2">
                  <c:v>3072</c:v>
                </c:pt>
                <c:pt idx="3">
                  <c:v>3410</c:v>
                </c:pt>
                <c:pt idx="4">
                  <c:v>3499</c:v>
                </c:pt>
                <c:pt idx="5">
                  <c:v>3891</c:v>
                </c:pt>
                <c:pt idx="6">
                  <c:v>4203</c:v>
                </c:pt>
                <c:pt idx="7">
                  <c:v>5398</c:v>
                </c:pt>
                <c:pt idx="8">
                  <c:v>6713</c:v>
                </c:pt>
                <c:pt idx="9">
                  <c:v>8210</c:v>
                </c:pt>
                <c:pt idx="10">
                  <c:v>9886</c:v>
                </c:pt>
                <c:pt idx="11">
                  <c:v>11695</c:v>
                </c:pt>
                <c:pt idx="12">
                  <c:v>12104</c:v>
                </c:pt>
                <c:pt idx="13">
                  <c:v>12397</c:v>
                </c:pt>
                <c:pt idx="14">
                  <c:v>14145</c:v>
                </c:pt>
                <c:pt idx="15">
                  <c:v>16092</c:v>
                </c:pt>
                <c:pt idx="16">
                  <c:v>17794</c:v>
                </c:pt>
                <c:pt idx="17">
                  <c:v>19697</c:v>
                </c:pt>
                <c:pt idx="18">
                  <c:v>21500</c:v>
                </c:pt>
                <c:pt idx="19">
                  <c:v>21835</c:v>
                </c:pt>
                <c:pt idx="20">
                  <c:v>22060</c:v>
                </c:pt>
                <c:pt idx="21">
                  <c:v>23618</c:v>
                </c:pt>
                <c:pt idx="22">
                  <c:v>24798</c:v>
                </c:pt>
                <c:pt idx="23">
                  <c:v>25926</c:v>
                </c:pt>
                <c:pt idx="24">
                  <c:v>26926</c:v>
                </c:pt>
                <c:pt idx="25">
                  <c:v>27756</c:v>
                </c:pt>
                <c:pt idx="26">
                  <c:v>27925</c:v>
                </c:pt>
                <c:pt idx="27">
                  <c:v>28007</c:v>
                </c:pt>
                <c:pt idx="28">
                  <c:v>28518</c:v>
                </c:pt>
                <c:pt idx="29">
                  <c:v>29057</c:v>
                </c:pt>
                <c:pt idx="30">
                  <c:v>29456</c:v>
                </c:pt>
                <c:pt idx="31">
                  <c:v>29834</c:v>
                </c:pt>
                <c:pt idx="32">
                  <c:v>30166</c:v>
                </c:pt>
                <c:pt idx="33">
                  <c:v>30191</c:v>
                </c:pt>
                <c:pt idx="34">
                  <c:v>30212</c:v>
                </c:pt>
                <c:pt idx="35">
                  <c:v>30456</c:v>
                </c:pt>
                <c:pt idx="36">
                  <c:v>30692</c:v>
                </c:pt>
                <c:pt idx="37">
                  <c:v>30915</c:v>
                </c:pt>
                <c:pt idx="38">
                  <c:v>31110</c:v>
                </c:pt>
                <c:pt idx="39">
                  <c:v>31385</c:v>
                </c:pt>
                <c:pt idx="40">
                  <c:v>31405</c:v>
                </c:pt>
                <c:pt idx="41">
                  <c:v>31417</c:v>
                </c:pt>
                <c:pt idx="42">
                  <c:v>31553</c:v>
                </c:pt>
                <c:pt idx="43">
                  <c:v>31691</c:v>
                </c:pt>
                <c:pt idx="44">
                  <c:v>31886</c:v>
                </c:pt>
                <c:pt idx="45">
                  <c:v>32118</c:v>
                </c:pt>
                <c:pt idx="46">
                  <c:v>32397</c:v>
                </c:pt>
                <c:pt idx="47">
                  <c:v>32496</c:v>
                </c:pt>
                <c:pt idx="48">
                  <c:v>32560</c:v>
                </c:pt>
                <c:pt idx="49">
                  <c:v>32916</c:v>
                </c:pt>
                <c:pt idx="50">
                  <c:v>33214</c:v>
                </c:pt>
                <c:pt idx="51">
                  <c:v>33475</c:v>
                </c:pt>
                <c:pt idx="52">
                  <c:v>33813</c:v>
                </c:pt>
                <c:pt idx="53">
                  <c:v>34259</c:v>
                </c:pt>
                <c:pt idx="54">
                  <c:v>34365</c:v>
                </c:pt>
                <c:pt idx="55">
                  <c:v>34412</c:v>
                </c:pt>
                <c:pt idx="56">
                  <c:v>34723</c:v>
                </c:pt>
                <c:pt idx="57">
                  <c:v>35204</c:v>
                </c:pt>
                <c:pt idx="58">
                  <c:v>35802</c:v>
                </c:pt>
                <c:pt idx="59">
                  <c:v>36456</c:v>
                </c:pt>
                <c:pt idx="60">
                  <c:v>36999</c:v>
                </c:pt>
                <c:pt idx="61">
                  <c:v>37073</c:v>
                </c:pt>
                <c:pt idx="62">
                  <c:v>37116</c:v>
                </c:pt>
                <c:pt idx="63">
                  <c:v>37663</c:v>
                </c:pt>
                <c:pt idx="64">
                  <c:v>38259</c:v>
                </c:pt>
                <c:pt idx="65">
                  <c:v>38819</c:v>
                </c:pt>
                <c:pt idx="66">
                  <c:v>39363</c:v>
                </c:pt>
                <c:pt idx="67">
                  <c:v>39956</c:v>
                </c:pt>
                <c:pt idx="68">
                  <c:v>40123</c:v>
                </c:pt>
                <c:pt idx="69">
                  <c:v>40232</c:v>
                </c:pt>
                <c:pt idx="70">
                  <c:v>40558</c:v>
                </c:pt>
                <c:pt idx="71">
                  <c:v>40955</c:v>
                </c:pt>
                <c:pt idx="72">
                  <c:v>41358</c:v>
                </c:pt>
                <c:pt idx="73">
                  <c:v>41836</c:v>
                </c:pt>
                <c:pt idx="74">
                  <c:v>42241</c:v>
                </c:pt>
                <c:pt idx="75">
                  <c:v>42380</c:v>
                </c:pt>
                <c:pt idx="76">
                  <c:v>42465</c:v>
                </c:pt>
                <c:pt idx="77">
                  <c:v>42718</c:v>
                </c:pt>
                <c:pt idx="78">
                  <c:v>43080</c:v>
                </c:pt>
                <c:pt idx="79">
                  <c:v>43436</c:v>
                </c:pt>
                <c:pt idx="80">
                  <c:v>43791</c:v>
                </c:pt>
                <c:pt idx="81">
                  <c:v>44122</c:v>
                </c:pt>
                <c:pt idx="82">
                  <c:v>44236</c:v>
                </c:pt>
                <c:pt idx="83">
                  <c:v>44306</c:v>
                </c:pt>
                <c:pt idx="84">
                  <c:v>44480</c:v>
                </c:pt>
                <c:pt idx="85">
                  <c:v>44673</c:v>
                </c:pt>
                <c:pt idx="86">
                  <c:v>44820</c:v>
                </c:pt>
                <c:pt idx="87">
                  <c:v>45014</c:v>
                </c:pt>
                <c:pt idx="88">
                  <c:v>45233</c:v>
                </c:pt>
                <c:pt idx="89">
                  <c:v>45296</c:v>
                </c:pt>
                <c:pt idx="90">
                  <c:v>45338</c:v>
                </c:pt>
                <c:pt idx="91">
                  <c:v>45463</c:v>
                </c:pt>
                <c:pt idx="92">
                  <c:v>45623</c:v>
                </c:pt>
                <c:pt idx="93">
                  <c:v>45783</c:v>
                </c:pt>
                <c:pt idx="94">
                  <c:v>46003</c:v>
                </c:pt>
                <c:pt idx="95">
                  <c:v>46079</c:v>
                </c:pt>
                <c:pt idx="96">
                  <c:v>46099</c:v>
                </c:pt>
                <c:pt idx="97">
                  <c:v>46128</c:v>
                </c:pt>
                <c:pt idx="98">
                  <c:v>46135</c:v>
                </c:pt>
                <c:pt idx="99">
                  <c:v>46225</c:v>
                </c:pt>
                <c:pt idx="100">
                  <c:v>46318</c:v>
                </c:pt>
                <c:pt idx="101">
                  <c:v>46487</c:v>
                </c:pt>
                <c:pt idx="102">
                  <c:v>46687</c:v>
                </c:pt>
                <c:pt idx="103">
                  <c:v>46732</c:v>
                </c:pt>
                <c:pt idx="104">
                  <c:v>46765</c:v>
                </c:pt>
                <c:pt idx="105">
                  <c:v>46901</c:v>
                </c:pt>
                <c:pt idx="106">
                  <c:v>47023</c:v>
                </c:pt>
                <c:pt idx="107">
                  <c:v>47128</c:v>
                </c:pt>
                <c:pt idx="108">
                  <c:v>47285</c:v>
                </c:pt>
                <c:pt idx="109">
                  <c:v>47460</c:v>
                </c:pt>
                <c:pt idx="110">
                  <c:v>47501</c:v>
                </c:pt>
                <c:pt idx="111">
                  <c:v>47556</c:v>
                </c:pt>
                <c:pt idx="112">
                  <c:v>47683</c:v>
                </c:pt>
                <c:pt idx="113">
                  <c:v>47802</c:v>
                </c:pt>
                <c:pt idx="114">
                  <c:v>47936</c:v>
                </c:pt>
                <c:pt idx="115">
                  <c:v>48083</c:v>
                </c:pt>
                <c:pt idx="116">
                  <c:v>48239</c:v>
                </c:pt>
                <c:pt idx="117">
                  <c:v>48295</c:v>
                </c:pt>
                <c:pt idx="118">
                  <c:v>48330</c:v>
                </c:pt>
                <c:pt idx="119">
                  <c:v>48442</c:v>
                </c:pt>
                <c:pt idx="120">
                  <c:v>48563</c:v>
                </c:pt>
                <c:pt idx="121">
                  <c:v>48684</c:v>
                </c:pt>
                <c:pt idx="122">
                  <c:v>48816</c:v>
                </c:pt>
                <c:pt idx="123">
                  <c:v>48955</c:v>
                </c:pt>
                <c:pt idx="124">
                  <c:v>48984</c:v>
                </c:pt>
                <c:pt idx="125">
                  <c:v>49014</c:v>
                </c:pt>
                <c:pt idx="126">
                  <c:v>49135</c:v>
                </c:pt>
                <c:pt idx="127">
                  <c:v>49260</c:v>
                </c:pt>
                <c:pt idx="128">
                  <c:v>49357</c:v>
                </c:pt>
                <c:pt idx="129">
                  <c:v>49474</c:v>
                </c:pt>
                <c:pt idx="130">
                  <c:v>49646</c:v>
                </c:pt>
                <c:pt idx="131">
                  <c:v>49708</c:v>
                </c:pt>
                <c:pt idx="132">
                  <c:v>49740</c:v>
                </c:pt>
                <c:pt idx="133">
                  <c:v>49840</c:v>
                </c:pt>
                <c:pt idx="134">
                  <c:v>49956</c:v>
                </c:pt>
                <c:pt idx="135">
                  <c:v>50087</c:v>
                </c:pt>
                <c:pt idx="136">
                  <c:v>50247</c:v>
                </c:pt>
                <c:pt idx="137">
                  <c:v>50374</c:v>
                </c:pt>
                <c:pt idx="138">
                  <c:v>50445</c:v>
                </c:pt>
                <c:pt idx="139">
                  <c:v>50477</c:v>
                </c:pt>
                <c:pt idx="140">
                  <c:v>50559</c:v>
                </c:pt>
                <c:pt idx="141">
                  <c:v>50651</c:v>
                </c:pt>
                <c:pt idx="142">
                  <c:v>50736</c:v>
                </c:pt>
                <c:pt idx="143">
                  <c:v>50835</c:v>
                </c:pt>
                <c:pt idx="144">
                  <c:v>50942</c:v>
                </c:pt>
                <c:pt idx="145">
                  <c:v>50973</c:v>
                </c:pt>
                <c:pt idx="146">
                  <c:v>50988</c:v>
                </c:pt>
                <c:pt idx="147">
                  <c:v>51037</c:v>
                </c:pt>
                <c:pt idx="148">
                  <c:v>51099</c:v>
                </c:pt>
                <c:pt idx="149">
                  <c:v>51191</c:v>
                </c:pt>
                <c:pt idx="150">
                  <c:v>51272</c:v>
                </c:pt>
                <c:pt idx="151">
                  <c:v>51376</c:v>
                </c:pt>
                <c:pt idx="152">
                  <c:v>51413</c:v>
                </c:pt>
                <c:pt idx="153">
                  <c:v>51446</c:v>
                </c:pt>
                <c:pt idx="154">
                  <c:v>51520</c:v>
                </c:pt>
                <c:pt idx="155">
                  <c:v>51601</c:v>
                </c:pt>
                <c:pt idx="156">
                  <c:v>51695</c:v>
                </c:pt>
                <c:pt idx="157">
                  <c:v>51765</c:v>
                </c:pt>
                <c:pt idx="158">
                  <c:v>51863</c:v>
                </c:pt>
                <c:pt idx="159">
                  <c:v>51890</c:v>
                </c:pt>
                <c:pt idx="160">
                  <c:v>51923</c:v>
                </c:pt>
                <c:pt idx="161">
                  <c:v>52004</c:v>
                </c:pt>
                <c:pt idx="162">
                  <c:v>52102</c:v>
                </c:pt>
                <c:pt idx="163">
                  <c:v>52187</c:v>
                </c:pt>
                <c:pt idx="164">
                  <c:v>52273</c:v>
                </c:pt>
                <c:pt idx="165">
                  <c:v>52368</c:v>
                </c:pt>
                <c:pt idx="166">
                  <c:v>52397</c:v>
                </c:pt>
                <c:pt idx="167">
                  <c:v>52427</c:v>
                </c:pt>
                <c:pt idx="168">
                  <c:v>52497</c:v>
                </c:pt>
                <c:pt idx="169">
                  <c:v>52552</c:v>
                </c:pt>
                <c:pt idx="170">
                  <c:v>52627</c:v>
                </c:pt>
                <c:pt idx="171">
                  <c:v>52705</c:v>
                </c:pt>
                <c:pt idx="172">
                  <c:v>52783</c:v>
                </c:pt>
                <c:pt idx="173">
                  <c:v>52811</c:v>
                </c:pt>
                <c:pt idx="174">
                  <c:v>52836</c:v>
                </c:pt>
                <c:pt idx="175">
                  <c:v>52874</c:v>
                </c:pt>
                <c:pt idx="176">
                  <c:v>52924</c:v>
                </c:pt>
                <c:pt idx="177">
                  <c:v>52977</c:v>
                </c:pt>
                <c:pt idx="178">
                  <c:v>53029</c:v>
                </c:pt>
                <c:pt idx="179">
                  <c:v>53086</c:v>
                </c:pt>
                <c:pt idx="180">
                  <c:v>53100</c:v>
                </c:pt>
                <c:pt idx="181">
                  <c:v>53112</c:v>
                </c:pt>
                <c:pt idx="182">
                  <c:v>53156</c:v>
                </c:pt>
                <c:pt idx="183">
                  <c:v>53202</c:v>
                </c:pt>
                <c:pt idx="184">
                  <c:v>53260</c:v>
                </c:pt>
                <c:pt idx="185">
                  <c:v>53304</c:v>
                </c:pt>
                <c:pt idx="186">
                  <c:v>53359</c:v>
                </c:pt>
                <c:pt idx="187">
                  <c:v>53371</c:v>
                </c:pt>
                <c:pt idx="188">
                  <c:v>53383</c:v>
                </c:pt>
                <c:pt idx="189">
                  <c:v>53389</c:v>
                </c:pt>
                <c:pt idx="190">
                  <c:v>53398</c:v>
                </c:pt>
                <c:pt idx="191">
                  <c:v>53438</c:v>
                </c:pt>
                <c:pt idx="192">
                  <c:v>53493</c:v>
                </c:pt>
                <c:pt idx="193">
                  <c:v>53541</c:v>
                </c:pt>
                <c:pt idx="194">
                  <c:v>53556</c:v>
                </c:pt>
                <c:pt idx="195">
                  <c:v>53570</c:v>
                </c:pt>
                <c:pt idx="196">
                  <c:v>53618</c:v>
                </c:pt>
                <c:pt idx="197">
                  <c:v>53661</c:v>
                </c:pt>
                <c:pt idx="198">
                  <c:v>53707</c:v>
                </c:pt>
                <c:pt idx="199">
                  <c:v>53767</c:v>
                </c:pt>
                <c:pt idx="200">
                  <c:v>53822</c:v>
                </c:pt>
                <c:pt idx="201">
                  <c:v>53844</c:v>
                </c:pt>
                <c:pt idx="202">
                  <c:v>53863</c:v>
                </c:pt>
                <c:pt idx="203">
                  <c:v>53912</c:v>
                </c:pt>
                <c:pt idx="204">
                  <c:v>53957</c:v>
                </c:pt>
                <c:pt idx="205">
                  <c:v>54026</c:v>
                </c:pt>
                <c:pt idx="206">
                  <c:v>54064</c:v>
                </c:pt>
                <c:pt idx="207">
                  <c:v>54097</c:v>
                </c:pt>
                <c:pt idx="208">
                  <c:v>54103</c:v>
                </c:pt>
                <c:pt idx="209">
                  <c:v>54112</c:v>
                </c:pt>
                <c:pt idx="210">
                  <c:v>54152</c:v>
                </c:pt>
                <c:pt idx="211">
                  <c:v>54205</c:v>
                </c:pt>
                <c:pt idx="212">
                  <c:v>54240</c:v>
                </c:pt>
                <c:pt idx="213">
                  <c:v>54268</c:v>
                </c:pt>
                <c:pt idx="214">
                  <c:v>54313</c:v>
                </c:pt>
                <c:pt idx="215">
                  <c:v>54330</c:v>
                </c:pt>
                <c:pt idx="216">
                  <c:v>54343</c:v>
                </c:pt>
                <c:pt idx="217">
                  <c:v>54380</c:v>
                </c:pt>
                <c:pt idx="218">
                  <c:v>54406</c:v>
                </c:pt>
                <c:pt idx="219">
                  <c:v>54446</c:v>
                </c:pt>
                <c:pt idx="220">
                  <c:v>54477</c:v>
                </c:pt>
                <c:pt idx="221">
                  <c:v>54510</c:v>
                </c:pt>
                <c:pt idx="222">
                  <c:v>54523</c:v>
                </c:pt>
                <c:pt idx="223">
                  <c:v>54528</c:v>
                </c:pt>
                <c:pt idx="224">
                  <c:v>54550</c:v>
                </c:pt>
                <c:pt idx="225">
                  <c:v>54565</c:v>
                </c:pt>
                <c:pt idx="226">
                  <c:v>54585</c:v>
                </c:pt>
                <c:pt idx="227">
                  <c:v>54608</c:v>
                </c:pt>
                <c:pt idx="228">
                  <c:v>54633</c:v>
                </c:pt>
                <c:pt idx="229">
                  <c:v>54643</c:v>
                </c:pt>
                <c:pt idx="230">
                  <c:v>54648</c:v>
                </c:pt>
                <c:pt idx="231">
                  <c:v>54665</c:v>
                </c:pt>
                <c:pt idx="232">
                  <c:v>54689</c:v>
                </c:pt>
                <c:pt idx="233">
                  <c:v>54712</c:v>
                </c:pt>
                <c:pt idx="234">
                  <c:v>54734</c:v>
                </c:pt>
                <c:pt idx="235">
                  <c:v>54767</c:v>
                </c:pt>
                <c:pt idx="236">
                  <c:v>54777</c:v>
                </c:pt>
                <c:pt idx="237">
                  <c:v>54780</c:v>
                </c:pt>
                <c:pt idx="238">
                  <c:v>54792</c:v>
                </c:pt>
                <c:pt idx="239">
                  <c:v>54820</c:v>
                </c:pt>
                <c:pt idx="240">
                  <c:v>54844</c:v>
                </c:pt>
                <c:pt idx="241">
                  <c:v>54871</c:v>
                </c:pt>
                <c:pt idx="242">
                  <c:v>54899</c:v>
                </c:pt>
                <c:pt idx="243">
                  <c:v>54901</c:v>
                </c:pt>
                <c:pt idx="244">
                  <c:v>54908</c:v>
                </c:pt>
                <c:pt idx="245">
                  <c:v>54930</c:v>
                </c:pt>
                <c:pt idx="246">
                  <c:v>54955</c:v>
                </c:pt>
                <c:pt idx="247">
                  <c:v>54975</c:v>
                </c:pt>
                <c:pt idx="248">
                  <c:v>55002</c:v>
                </c:pt>
                <c:pt idx="249">
                  <c:v>55028</c:v>
                </c:pt>
                <c:pt idx="250">
                  <c:v>55036</c:v>
                </c:pt>
                <c:pt idx="251">
                  <c:v>55041</c:v>
                </c:pt>
                <c:pt idx="252">
                  <c:v>55054</c:v>
                </c:pt>
                <c:pt idx="253">
                  <c:v>55067</c:v>
                </c:pt>
                <c:pt idx="254">
                  <c:v>55087</c:v>
                </c:pt>
                <c:pt idx="255">
                  <c:v>55114</c:v>
                </c:pt>
                <c:pt idx="256">
                  <c:v>55139</c:v>
                </c:pt>
                <c:pt idx="257">
                  <c:v>55141</c:v>
                </c:pt>
                <c:pt idx="258">
                  <c:v>55144</c:v>
                </c:pt>
                <c:pt idx="259">
                  <c:v>55163</c:v>
                </c:pt>
                <c:pt idx="260">
                  <c:v>55181</c:v>
                </c:pt>
                <c:pt idx="261">
                  <c:v>55196</c:v>
                </c:pt>
                <c:pt idx="262">
                  <c:v>55214</c:v>
                </c:pt>
                <c:pt idx="263">
                  <c:v>55239</c:v>
                </c:pt>
                <c:pt idx="264">
                  <c:v>55244</c:v>
                </c:pt>
                <c:pt idx="265">
                  <c:v>55244</c:v>
                </c:pt>
                <c:pt idx="266">
                  <c:v>55264</c:v>
                </c:pt>
                <c:pt idx="267">
                  <c:v>55272</c:v>
                </c:pt>
                <c:pt idx="268">
                  <c:v>55283</c:v>
                </c:pt>
                <c:pt idx="269">
                  <c:v>55307</c:v>
                </c:pt>
                <c:pt idx="270">
                  <c:v>55333</c:v>
                </c:pt>
                <c:pt idx="271">
                  <c:v>55339</c:v>
                </c:pt>
                <c:pt idx="272">
                  <c:v>55339</c:v>
                </c:pt>
                <c:pt idx="273">
                  <c:v>55351</c:v>
                </c:pt>
                <c:pt idx="274">
                  <c:v>55351</c:v>
                </c:pt>
                <c:pt idx="275">
                  <c:v>55368</c:v>
                </c:pt>
                <c:pt idx="276">
                  <c:v>55383</c:v>
                </c:pt>
                <c:pt idx="277">
                  <c:v>55403</c:v>
                </c:pt>
                <c:pt idx="278">
                  <c:v>55409</c:v>
                </c:pt>
                <c:pt idx="279">
                  <c:v>55409</c:v>
                </c:pt>
                <c:pt idx="280">
                  <c:v>55419</c:v>
                </c:pt>
                <c:pt idx="281">
                  <c:v>55426</c:v>
                </c:pt>
                <c:pt idx="282">
                  <c:v>55438</c:v>
                </c:pt>
                <c:pt idx="283">
                  <c:v>55456</c:v>
                </c:pt>
                <c:pt idx="284">
                  <c:v>55470</c:v>
                </c:pt>
                <c:pt idx="285">
                  <c:v>55476</c:v>
                </c:pt>
                <c:pt idx="286">
                  <c:v>55476</c:v>
                </c:pt>
                <c:pt idx="287">
                  <c:v>55495</c:v>
                </c:pt>
                <c:pt idx="288">
                  <c:v>55513</c:v>
                </c:pt>
                <c:pt idx="289">
                  <c:v>55520</c:v>
                </c:pt>
                <c:pt idx="290">
                  <c:v>55530</c:v>
                </c:pt>
                <c:pt idx="291">
                  <c:v>55547</c:v>
                </c:pt>
                <c:pt idx="292">
                  <c:v>55549</c:v>
                </c:pt>
                <c:pt idx="293">
                  <c:v>55551</c:v>
                </c:pt>
                <c:pt idx="294">
                  <c:v>55572</c:v>
                </c:pt>
                <c:pt idx="295">
                  <c:v>55579</c:v>
                </c:pt>
                <c:pt idx="296">
                  <c:v>55593</c:v>
                </c:pt>
                <c:pt idx="297">
                  <c:v>55618</c:v>
                </c:pt>
                <c:pt idx="298">
                  <c:v>55657</c:v>
                </c:pt>
                <c:pt idx="299">
                  <c:v>55664</c:v>
                </c:pt>
                <c:pt idx="300">
                  <c:v>55670</c:v>
                </c:pt>
                <c:pt idx="301">
                  <c:v>55691</c:v>
                </c:pt>
                <c:pt idx="302">
                  <c:v>55728</c:v>
                </c:pt>
                <c:pt idx="303">
                  <c:v>55775</c:v>
                </c:pt>
                <c:pt idx="304">
                  <c:v>55782</c:v>
                </c:pt>
                <c:pt idx="305">
                  <c:v>55816</c:v>
                </c:pt>
                <c:pt idx="306">
                  <c:v>55828</c:v>
                </c:pt>
                <c:pt idx="307">
                  <c:v>55831</c:v>
                </c:pt>
                <c:pt idx="308">
                  <c:v>55875</c:v>
                </c:pt>
                <c:pt idx="309">
                  <c:v>55914</c:v>
                </c:pt>
                <c:pt idx="310">
                  <c:v>55949</c:v>
                </c:pt>
                <c:pt idx="311">
                  <c:v>56008</c:v>
                </c:pt>
                <c:pt idx="312">
                  <c:v>56071</c:v>
                </c:pt>
                <c:pt idx="313">
                  <c:v>56095</c:v>
                </c:pt>
                <c:pt idx="314">
                  <c:v>56110</c:v>
                </c:pt>
                <c:pt idx="315">
                  <c:v>56140</c:v>
                </c:pt>
                <c:pt idx="316">
                  <c:v>56175</c:v>
                </c:pt>
                <c:pt idx="317">
                  <c:v>56208</c:v>
                </c:pt>
                <c:pt idx="318">
                  <c:v>56242</c:v>
                </c:pt>
                <c:pt idx="319">
                  <c:v>56306</c:v>
                </c:pt>
                <c:pt idx="320">
                  <c:v>56317</c:v>
                </c:pt>
                <c:pt idx="321">
                  <c:v>56326</c:v>
                </c:pt>
                <c:pt idx="322">
                  <c:v>56373</c:v>
                </c:pt>
                <c:pt idx="323">
                  <c:v>56429</c:v>
                </c:pt>
                <c:pt idx="324">
                  <c:v>56444</c:v>
                </c:pt>
                <c:pt idx="325">
                  <c:v>56489</c:v>
                </c:pt>
                <c:pt idx="326">
                  <c:v>56557</c:v>
                </c:pt>
                <c:pt idx="327">
                  <c:v>56583</c:v>
                </c:pt>
                <c:pt idx="328">
                  <c:v>56594</c:v>
                </c:pt>
                <c:pt idx="329">
                  <c:v>56642</c:v>
                </c:pt>
                <c:pt idx="330">
                  <c:v>56691</c:v>
                </c:pt>
                <c:pt idx="331">
                  <c:v>56727</c:v>
                </c:pt>
                <c:pt idx="332">
                  <c:v>56778</c:v>
                </c:pt>
                <c:pt idx="333">
                  <c:v>56838</c:v>
                </c:pt>
                <c:pt idx="334">
                  <c:v>56848</c:v>
                </c:pt>
                <c:pt idx="335">
                  <c:v>56853</c:v>
                </c:pt>
                <c:pt idx="336">
                  <c:v>56883</c:v>
                </c:pt>
                <c:pt idx="337">
                  <c:v>56911</c:v>
                </c:pt>
                <c:pt idx="338">
                  <c:v>56945</c:v>
                </c:pt>
                <c:pt idx="339">
                  <c:v>56971</c:v>
                </c:pt>
                <c:pt idx="340">
                  <c:v>57002</c:v>
                </c:pt>
                <c:pt idx="341">
                  <c:v>57006</c:v>
                </c:pt>
                <c:pt idx="342">
                  <c:v>57008</c:v>
                </c:pt>
                <c:pt idx="343">
                  <c:v>57028</c:v>
                </c:pt>
                <c:pt idx="344">
                  <c:v>57046</c:v>
                </c:pt>
                <c:pt idx="345">
                  <c:v>57070</c:v>
                </c:pt>
                <c:pt idx="346">
                  <c:v>57089</c:v>
                </c:pt>
                <c:pt idx="347">
                  <c:v>57108</c:v>
                </c:pt>
                <c:pt idx="348">
                  <c:v>57112</c:v>
                </c:pt>
                <c:pt idx="349">
                  <c:v>57114</c:v>
                </c:pt>
                <c:pt idx="350">
                  <c:v>57127</c:v>
                </c:pt>
                <c:pt idx="351">
                  <c:v>57138</c:v>
                </c:pt>
                <c:pt idx="352">
                  <c:v>57151</c:v>
                </c:pt>
                <c:pt idx="353">
                  <c:v>57168</c:v>
                </c:pt>
                <c:pt idx="354">
                  <c:v>57185</c:v>
                </c:pt>
                <c:pt idx="355">
                  <c:v>57189</c:v>
                </c:pt>
                <c:pt idx="356">
                  <c:v>57191</c:v>
                </c:pt>
                <c:pt idx="357">
                  <c:v>57200</c:v>
                </c:pt>
                <c:pt idx="358">
                  <c:v>57208</c:v>
                </c:pt>
                <c:pt idx="359">
                  <c:v>57221</c:v>
                </c:pt>
                <c:pt idx="360">
                  <c:v>57223</c:v>
                </c:pt>
                <c:pt idx="361">
                  <c:v>57231</c:v>
                </c:pt>
                <c:pt idx="362">
                  <c:v>57236</c:v>
                </c:pt>
                <c:pt idx="363">
                  <c:v>57239</c:v>
                </c:pt>
                <c:pt idx="364">
                  <c:v>57246</c:v>
                </c:pt>
                <c:pt idx="365">
                  <c:v>57248</c:v>
                </c:pt>
                <c:pt idx="366">
                  <c:v>57249</c:v>
                </c:pt>
                <c:pt idx="367">
                  <c:v>57254</c:v>
                </c:pt>
                <c:pt idx="368">
                  <c:v>57259</c:v>
                </c:pt>
                <c:pt idx="369">
                  <c:v>57269</c:v>
                </c:pt>
                <c:pt idx="370">
                  <c:v>57280</c:v>
                </c:pt>
                <c:pt idx="371">
                  <c:v>57296</c:v>
                </c:pt>
                <c:pt idx="372">
                  <c:v>57299</c:v>
                </c:pt>
                <c:pt idx="373">
                  <c:v>57300</c:v>
                </c:pt>
                <c:pt idx="374">
                  <c:v>57308</c:v>
                </c:pt>
                <c:pt idx="375">
                  <c:v>57315</c:v>
                </c:pt>
                <c:pt idx="376">
                  <c:v>57327</c:v>
                </c:pt>
                <c:pt idx="377">
                  <c:v>57339</c:v>
                </c:pt>
                <c:pt idx="378">
                  <c:v>573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783-4536-9939-DB56A099F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2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797528443005752"/>
          <c:y val="0.28604517875847346"/>
          <c:w val="0.10158527092232689"/>
          <c:h val="0.472888534487277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14648495541371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1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A3F-421B-A24A-264CC3DD701B}"/>
                </c:ext>
              </c:extLst>
            </c:dLbl>
            <c:dLbl>
              <c:idx val="1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487-4B41-A7BA-23E0663C99CB}"/>
                </c:ext>
              </c:extLst>
            </c:dLbl>
            <c:dLbl>
              <c:idx val="1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87-4B41-A7BA-23E0663C99CB}"/>
                </c:ext>
              </c:extLst>
            </c:dLbl>
            <c:dLbl>
              <c:idx val="1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A3F-421B-A24A-264CC3DD701B}"/>
                </c:ext>
              </c:extLst>
            </c:dLbl>
            <c:dLbl>
              <c:idx val="1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487-4B41-A7BA-23E0663C99CB}"/>
                </c:ext>
              </c:extLst>
            </c:dLbl>
            <c:dLbl>
              <c:idx val="14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A3F-421B-A24A-264CC3DD701B}"/>
                </c:ext>
              </c:extLst>
            </c:dLbl>
            <c:dLbl>
              <c:idx val="1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487-4B41-A7BA-23E0663C99C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41</c:f>
              <c:numCache>
                <c:formatCode>m/d/yyyy</c:formatCode>
                <c:ptCount val="207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  <c:pt idx="187">
                  <c:v>44556</c:v>
                </c:pt>
                <c:pt idx="188">
                  <c:v>44557</c:v>
                </c:pt>
                <c:pt idx="189">
                  <c:v>44558</c:v>
                </c:pt>
                <c:pt idx="190">
                  <c:v>44559</c:v>
                </c:pt>
                <c:pt idx="191">
                  <c:v>44560</c:v>
                </c:pt>
                <c:pt idx="192">
                  <c:v>44561</c:v>
                </c:pt>
                <c:pt idx="193">
                  <c:v>44562</c:v>
                </c:pt>
                <c:pt idx="194">
                  <c:v>44563</c:v>
                </c:pt>
                <c:pt idx="195">
                  <c:v>44564</c:v>
                </c:pt>
                <c:pt idx="196">
                  <c:v>44565</c:v>
                </c:pt>
                <c:pt idx="197">
                  <c:v>44566</c:v>
                </c:pt>
                <c:pt idx="198">
                  <c:v>44567</c:v>
                </c:pt>
                <c:pt idx="199">
                  <c:v>44568</c:v>
                </c:pt>
                <c:pt idx="200">
                  <c:v>44569</c:v>
                </c:pt>
                <c:pt idx="201">
                  <c:v>44570</c:v>
                </c:pt>
                <c:pt idx="202">
                  <c:v>44571</c:v>
                </c:pt>
                <c:pt idx="203">
                  <c:v>44572</c:v>
                </c:pt>
                <c:pt idx="204">
                  <c:v>44573</c:v>
                </c:pt>
                <c:pt idx="205">
                  <c:v>44574</c:v>
                </c:pt>
                <c:pt idx="206">
                  <c:v>44575</c:v>
                </c:pt>
              </c:numCache>
            </c:numRef>
          </c:cat>
          <c:val>
            <c:numRef>
              <c:f>Sheet1!$B$135:$B$341</c:f>
              <c:numCache>
                <c:formatCode>General</c:formatCode>
                <c:ptCount val="207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</c:v>
                </c:pt>
                <c:pt idx="19">
                  <c:v>0</c:v>
                </c:pt>
                <c:pt idx="20">
                  <c:v>2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3</c:v>
                </c:pt>
                <c:pt idx="25">
                  <c:v>2</c:v>
                </c:pt>
                <c:pt idx="26">
                  <c:v>1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4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1</c:v>
                </c:pt>
                <c:pt idx="37">
                  <c:v>2</c:v>
                </c:pt>
                <c:pt idx="38">
                  <c:v>2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7</c:v>
                </c:pt>
                <c:pt idx="44">
                  <c:v>1</c:v>
                </c:pt>
                <c:pt idx="45">
                  <c:v>2</c:v>
                </c:pt>
                <c:pt idx="46">
                  <c:v>0</c:v>
                </c:pt>
                <c:pt idx="47">
                  <c:v>3</c:v>
                </c:pt>
                <c:pt idx="48">
                  <c:v>2</c:v>
                </c:pt>
                <c:pt idx="49">
                  <c:v>0</c:v>
                </c:pt>
                <c:pt idx="50">
                  <c:v>4</c:v>
                </c:pt>
                <c:pt idx="51">
                  <c:v>1</c:v>
                </c:pt>
                <c:pt idx="52">
                  <c:v>1</c:v>
                </c:pt>
                <c:pt idx="53">
                  <c:v>0</c:v>
                </c:pt>
                <c:pt idx="54">
                  <c:v>0</c:v>
                </c:pt>
                <c:pt idx="55">
                  <c:v>3</c:v>
                </c:pt>
                <c:pt idx="56">
                  <c:v>0</c:v>
                </c:pt>
                <c:pt idx="57">
                  <c:v>0</c:v>
                </c:pt>
                <c:pt idx="58">
                  <c:v>2</c:v>
                </c:pt>
                <c:pt idx="59">
                  <c:v>1</c:v>
                </c:pt>
                <c:pt idx="60">
                  <c:v>0</c:v>
                </c:pt>
                <c:pt idx="61">
                  <c:v>0</c:v>
                </c:pt>
                <c:pt idx="62">
                  <c:v>2</c:v>
                </c:pt>
                <c:pt idx="63">
                  <c:v>0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0</c:v>
                </c:pt>
                <c:pt idx="69">
                  <c:v>0</c:v>
                </c:pt>
                <c:pt idx="70">
                  <c:v>4</c:v>
                </c:pt>
                <c:pt idx="71">
                  <c:v>4</c:v>
                </c:pt>
                <c:pt idx="72">
                  <c:v>1</c:v>
                </c:pt>
                <c:pt idx="73">
                  <c:v>1</c:v>
                </c:pt>
                <c:pt idx="74">
                  <c:v>3</c:v>
                </c:pt>
                <c:pt idx="75">
                  <c:v>1</c:v>
                </c:pt>
                <c:pt idx="76">
                  <c:v>0</c:v>
                </c:pt>
                <c:pt idx="77">
                  <c:v>2</c:v>
                </c:pt>
                <c:pt idx="78">
                  <c:v>0</c:v>
                </c:pt>
                <c:pt idx="79">
                  <c:v>0</c:v>
                </c:pt>
                <c:pt idx="80">
                  <c:v>3</c:v>
                </c:pt>
                <c:pt idx="81">
                  <c:v>3</c:v>
                </c:pt>
                <c:pt idx="82">
                  <c:v>0</c:v>
                </c:pt>
                <c:pt idx="83">
                  <c:v>4</c:v>
                </c:pt>
                <c:pt idx="84">
                  <c:v>2</c:v>
                </c:pt>
                <c:pt idx="85">
                  <c:v>0</c:v>
                </c:pt>
                <c:pt idx="86">
                  <c:v>1</c:v>
                </c:pt>
                <c:pt idx="87">
                  <c:v>2</c:v>
                </c:pt>
                <c:pt idx="88">
                  <c:v>1</c:v>
                </c:pt>
                <c:pt idx="89">
                  <c:v>1</c:v>
                </c:pt>
                <c:pt idx="90">
                  <c:v>0</c:v>
                </c:pt>
                <c:pt idx="91">
                  <c:v>3</c:v>
                </c:pt>
                <c:pt idx="92">
                  <c:v>3</c:v>
                </c:pt>
                <c:pt idx="93">
                  <c:v>2</c:v>
                </c:pt>
                <c:pt idx="94">
                  <c:v>3</c:v>
                </c:pt>
                <c:pt idx="95">
                  <c:v>0</c:v>
                </c:pt>
                <c:pt idx="96">
                  <c:v>2</c:v>
                </c:pt>
                <c:pt idx="97">
                  <c:v>6</c:v>
                </c:pt>
                <c:pt idx="98">
                  <c:v>4</c:v>
                </c:pt>
                <c:pt idx="99">
                  <c:v>3</c:v>
                </c:pt>
                <c:pt idx="100">
                  <c:v>9</c:v>
                </c:pt>
                <c:pt idx="101">
                  <c:v>2</c:v>
                </c:pt>
                <c:pt idx="102">
                  <c:v>5</c:v>
                </c:pt>
                <c:pt idx="103">
                  <c:v>1</c:v>
                </c:pt>
                <c:pt idx="104">
                  <c:v>0</c:v>
                </c:pt>
                <c:pt idx="105">
                  <c:v>2</c:v>
                </c:pt>
                <c:pt idx="106">
                  <c:v>5</c:v>
                </c:pt>
                <c:pt idx="107">
                  <c:v>6</c:v>
                </c:pt>
                <c:pt idx="108">
                  <c:v>6</c:v>
                </c:pt>
                <c:pt idx="109">
                  <c:v>1</c:v>
                </c:pt>
                <c:pt idx="110">
                  <c:v>1</c:v>
                </c:pt>
                <c:pt idx="111">
                  <c:v>3</c:v>
                </c:pt>
                <c:pt idx="112">
                  <c:v>10</c:v>
                </c:pt>
                <c:pt idx="113">
                  <c:v>7</c:v>
                </c:pt>
                <c:pt idx="114">
                  <c:v>7</c:v>
                </c:pt>
                <c:pt idx="115">
                  <c:v>6</c:v>
                </c:pt>
                <c:pt idx="116">
                  <c:v>5</c:v>
                </c:pt>
                <c:pt idx="117">
                  <c:v>8</c:v>
                </c:pt>
                <c:pt idx="118">
                  <c:v>17</c:v>
                </c:pt>
                <c:pt idx="119">
                  <c:v>17</c:v>
                </c:pt>
                <c:pt idx="120">
                  <c:v>13</c:v>
                </c:pt>
                <c:pt idx="121">
                  <c:v>13</c:v>
                </c:pt>
                <c:pt idx="122">
                  <c:v>17</c:v>
                </c:pt>
                <c:pt idx="123">
                  <c:v>15</c:v>
                </c:pt>
                <c:pt idx="124">
                  <c:v>12</c:v>
                </c:pt>
                <c:pt idx="125">
                  <c:v>28</c:v>
                </c:pt>
                <c:pt idx="126">
                  <c:v>20</c:v>
                </c:pt>
                <c:pt idx="127">
                  <c:v>23</c:v>
                </c:pt>
                <c:pt idx="128">
                  <c:v>22</c:v>
                </c:pt>
                <c:pt idx="129">
                  <c:v>38</c:v>
                </c:pt>
                <c:pt idx="130">
                  <c:v>22</c:v>
                </c:pt>
                <c:pt idx="131">
                  <c:v>18</c:v>
                </c:pt>
                <c:pt idx="132">
                  <c:v>57</c:v>
                </c:pt>
                <c:pt idx="133">
                  <c:v>39</c:v>
                </c:pt>
                <c:pt idx="134">
                  <c:v>39</c:v>
                </c:pt>
                <c:pt idx="135">
                  <c:v>27</c:v>
                </c:pt>
                <c:pt idx="136">
                  <c:v>41</c:v>
                </c:pt>
                <c:pt idx="137">
                  <c:v>21</c:v>
                </c:pt>
                <c:pt idx="138">
                  <c:v>19</c:v>
                </c:pt>
                <c:pt idx="139">
                  <c:v>53</c:v>
                </c:pt>
                <c:pt idx="140">
                  <c:v>46</c:v>
                </c:pt>
                <c:pt idx="141">
                  <c:v>48</c:v>
                </c:pt>
                <c:pt idx="142">
                  <c:v>50</c:v>
                </c:pt>
                <c:pt idx="143">
                  <c:v>45</c:v>
                </c:pt>
                <c:pt idx="144">
                  <c:v>50</c:v>
                </c:pt>
                <c:pt idx="145">
                  <c:v>23</c:v>
                </c:pt>
                <c:pt idx="146">
                  <c:v>65</c:v>
                </c:pt>
                <c:pt idx="147">
                  <c:v>62</c:v>
                </c:pt>
                <c:pt idx="148">
                  <c:v>44</c:v>
                </c:pt>
                <c:pt idx="149">
                  <c:v>58</c:v>
                </c:pt>
                <c:pt idx="150">
                  <c:v>84</c:v>
                </c:pt>
                <c:pt idx="151">
                  <c:v>50</c:v>
                </c:pt>
                <c:pt idx="152">
                  <c:v>31</c:v>
                </c:pt>
                <c:pt idx="153">
                  <c:v>63</c:v>
                </c:pt>
                <c:pt idx="154">
                  <c:v>73</c:v>
                </c:pt>
                <c:pt idx="155">
                  <c:v>44</c:v>
                </c:pt>
                <c:pt idx="156">
                  <c:v>71</c:v>
                </c:pt>
                <c:pt idx="157">
                  <c:v>57</c:v>
                </c:pt>
                <c:pt idx="158">
                  <c:v>34</c:v>
                </c:pt>
                <c:pt idx="159">
                  <c:v>42</c:v>
                </c:pt>
                <c:pt idx="160">
                  <c:v>64</c:v>
                </c:pt>
                <c:pt idx="161">
                  <c:v>52</c:v>
                </c:pt>
                <c:pt idx="162">
                  <c:v>57</c:v>
                </c:pt>
                <c:pt idx="163">
                  <c:v>44</c:v>
                </c:pt>
                <c:pt idx="164">
                  <c:v>52</c:v>
                </c:pt>
                <c:pt idx="165">
                  <c:v>27</c:v>
                </c:pt>
                <c:pt idx="166">
                  <c:v>17</c:v>
                </c:pt>
                <c:pt idx="167">
                  <c:v>47</c:v>
                </c:pt>
                <c:pt idx="168">
                  <c:v>45</c:v>
                </c:pt>
                <c:pt idx="169">
                  <c:v>31</c:v>
                </c:pt>
                <c:pt idx="170">
                  <c:v>33</c:v>
                </c:pt>
                <c:pt idx="171">
                  <c:v>34</c:v>
                </c:pt>
                <c:pt idx="172">
                  <c:v>21</c:v>
                </c:pt>
                <c:pt idx="173">
                  <c:v>13</c:v>
                </c:pt>
                <c:pt idx="174">
                  <c:v>30</c:v>
                </c:pt>
                <c:pt idx="175">
                  <c:v>25</c:v>
                </c:pt>
                <c:pt idx="176">
                  <c:v>25</c:v>
                </c:pt>
                <c:pt idx="177">
                  <c:v>16</c:v>
                </c:pt>
                <c:pt idx="178">
                  <c:v>25</c:v>
                </c:pt>
                <c:pt idx="179">
                  <c:v>21</c:v>
                </c:pt>
                <c:pt idx="180">
                  <c:v>15</c:v>
                </c:pt>
                <c:pt idx="181">
                  <c:v>27</c:v>
                </c:pt>
                <c:pt idx="182">
                  <c:v>31</c:v>
                </c:pt>
                <c:pt idx="183">
                  <c:v>22</c:v>
                </c:pt>
                <c:pt idx="184">
                  <c:v>24</c:v>
                </c:pt>
                <c:pt idx="185">
                  <c:v>4</c:v>
                </c:pt>
                <c:pt idx="186">
                  <c:v>12</c:v>
                </c:pt>
                <c:pt idx="187">
                  <c:v>8</c:v>
                </c:pt>
                <c:pt idx="188">
                  <c:v>26</c:v>
                </c:pt>
                <c:pt idx="189">
                  <c:v>34</c:v>
                </c:pt>
                <c:pt idx="190">
                  <c:v>27</c:v>
                </c:pt>
                <c:pt idx="191">
                  <c:v>23</c:v>
                </c:pt>
                <c:pt idx="192">
                  <c:v>21</c:v>
                </c:pt>
                <c:pt idx="193">
                  <c:v>7</c:v>
                </c:pt>
                <c:pt idx="194">
                  <c:v>27</c:v>
                </c:pt>
                <c:pt idx="195">
                  <c:v>41</c:v>
                </c:pt>
                <c:pt idx="196">
                  <c:v>31</c:v>
                </c:pt>
                <c:pt idx="197">
                  <c:v>21</c:v>
                </c:pt>
                <c:pt idx="198">
                  <c:v>26</c:v>
                </c:pt>
                <c:pt idx="199">
                  <c:v>20</c:v>
                </c:pt>
                <c:pt idx="200">
                  <c:v>18</c:v>
                </c:pt>
                <c:pt idx="201">
                  <c:v>16</c:v>
                </c:pt>
                <c:pt idx="202">
                  <c:v>38</c:v>
                </c:pt>
                <c:pt idx="203">
                  <c:v>52</c:v>
                </c:pt>
                <c:pt idx="204">
                  <c:v>76</c:v>
                </c:pt>
                <c:pt idx="205">
                  <c:v>46</c:v>
                </c:pt>
                <c:pt idx="206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C7-4733-952F-D247528AD3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9">
                  <c:v>0.56471970000000005</c:v>
                </c:pt>
                <c:pt idx="10">
                  <c:v>2.2588788000000002</c:v>
                </c:pt>
                <c:pt idx="11">
                  <c:v>9.6002349000000002</c:v>
                </c:pt>
                <c:pt idx="12">
                  <c:v>13.8356326</c:v>
                </c:pt>
                <c:pt idx="13">
                  <c:v>8.7551082999999998</c:v>
                </c:pt>
                <c:pt idx="14">
                  <c:v>4.5204380000000004</c:v>
                </c:pt>
                <c:pt idx="15">
                  <c:v>6.5005354999999998</c:v>
                </c:pt>
                <c:pt idx="16">
                  <c:v>3.3928303</c:v>
                </c:pt>
                <c:pt idx="17">
                  <c:v>1.9798395</c:v>
                </c:pt>
                <c:pt idx="18">
                  <c:v>2.2630385999999998</c:v>
                </c:pt>
                <c:pt idx="19">
                  <c:v>0.84876669999999999</c:v>
                </c:pt>
                <c:pt idx="20">
                  <c:v>0.56592770000000003</c:v>
                </c:pt>
                <c:pt idx="21">
                  <c:v>1.4150155</c:v>
                </c:pt>
                <c:pt idx="22">
                  <c:v>1.1321437999999999</c:v>
                </c:pt>
                <c:pt idx="23">
                  <c:v>0.84919679999999997</c:v>
                </c:pt>
                <c:pt idx="24">
                  <c:v>1.4154762000000001</c:v>
                </c:pt>
                <c:pt idx="25">
                  <c:v>1.1324964</c:v>
                </c:pt>
                <c:pt idx="26">
                  <c:v>1.1325509</c:v>
                </c:pt>
                <c:pt idx="27">
                  <c:v>1.1325284</c:v>
                </c:pt>
                <c:pt idx="28">
                  <c:v>1.6987638</c:v>
                </c:pt>
                <c:pt idx="29">
                  <c:v>2.5481025000000002</c:v>
                </c:pt>
                <c:pt idx="30">
                  <c:v>4.2463205000000004</c:v>
                </c:pt>
                <c:pt idx="31">
                  <c:v>3.3953935</c:v>
                </c:pt>
                <c:pt idx="32">
                  <c:v>7.0700156999999999</c:v>
                </c:pt>
                <c:pt idx="33">
                  <c:v>6.7836660000000002</c:v>
                </c:pt>
                <c:pt idx="34">
                  <c:v>8.1922986000000009</c:v>
                </c:pt>
                <c:pt idx="35">
                  <c:v>16.353598600000002</c:v>
                </c:pt>
                <c:pt idx="36">
                  <c:v>30.657246300000001</c:v>
                </c:pt>
                <c:pt idx="37">
                  <c:v>49.097586300000003</c:v>
                </c:pt>
                <c:pt idx="38">
                  <c:v>51.775044399999999</c:v>
                </c:pt>
                <c:pt idx="39">
                  <c:v>98.864731199999994</c:v>
                </c:pt>
                <c:pt idx="40">
                  <c:v>188.8950892</c:v>
                </c:pt>
                <c:pt idx="41">
                  <c:v>272.0807767</c:v>
                </c:pt>
                <c:pt idx="42">
                  <c:v>318.07749719999998</c:v>
                </c:pt>
                <c:pt idx="43">
                  <c:v>202.6021011</c:v>
                </c:pt>
                <c:pt idx="44">
                  <c:v>148.27426</c:v>
                </c:pt>
                <c:pt idx="45">
                  <c:v>92.326859299999995</c:v>
                </c:pt>
                <c:pt idx="46">
                  <c:v>92.573544499999997</c:v>
                </c:pt>
                <c:pt idx="47">
                  <c:v>91.152129500000001</c:v>
                </c:pt>
                <c:pt idx="48">
                  <c:v>111.9615496</c:v>
                </c:pt>
                <c:pt idx="49">
                  <c:v>135.26800840000001</c:v>
                </c:pt>
                <c:pt idx="50">
                  <c:v>178.8362315</c:v>
                </c:pt>
                <c:pt idx="51">
                  <c:v>197.39746289999999</c:v>
                </c:pt>
                <c:pt idx="52">
                  <c:v>222.48994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549-4946-8B42-18535E6234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180.2096985</c:v>
                </c:pt>
                <c:pt idx="1">
                  <c:v>126.40995719999999</c:v>
                </c:pt>
                <c:pt idx="2">
                  <c:v>106.3660744</c:v>
                </c:pt>
                <c:pt idx="3">
                  <c:v>77.867974799999999</c:v>
                </c:pt>
                <c:pt idx="4">
                  <c:v>59.822424699999999</c:v>
                </c:pt>
                <c:pt idx="5">
                  <c:v>47.042842299999997</c:v>
                </c:pt>
                <c:pt idx="6">
                  <c:v>40.378499699999999</c:v>
                </c:pt>
                <c:pt idx="7">
                  <c:v>45.687541699999997</c:v>
                </c:pt>
                <c:pt idx="8">
                  <c:v>62.428409299999998</c:v>
                </c:pt>
                <c:pt idx="9">
                  <c:v>34.5670614</c:v>
                </c:pt>
                <c:pt idx="10">
                  <c:v>28.994072899999999</c:v>
                </c:pt>
                <c:pt idx="11">
                  <c:v>19.795741400000001</c:v>
                </c:pt>
                <c:pt idx="12">
                  <c:v>17.287819800000001</c:v>
                </c:pt>
                <c:pt idx="13">
                  <c:v>10.3158604</c:v>
                </c:pt>
                <c:pt idx="14">
                  <c:v>8.3621362000000001</c:v>
                </c:pt>
                <c:pt idx="15">
                  <c:v>9.1960940999999998</c:v>
                </c:pt>
                <c:pt idx="16">
                  <c:v>6.4078274999999998</c:v>
                </c:pt>
                <c:pt idx="17">
                  <c:v>6.9640598000000002</c:v>
                </c:pt>
                <c:pt idx="18">
                  <c:v>1.6716816999999999</c:v>
                </c:pt>
                <c:pt idx="19">
                  <c:v>4.1800661000000003</c:v>
                </c:pt>
                <c:pt idx="20">
                  <c:v>2.2298220999999998</c:v>
                </c:pt>
                <c:pt idx="21">
                  <c:v>2.5090604000000001</c:v>
                </c:pt>
                <c:pt idx="22">
                  <c:v>0.27884819999999999</c:v>
                </c:pt>
                <c:pt idx="23">
                  <c:v>0.27891510000000003</c:v>
                </c:pt>
                <c:pt idx="24">
                  <c:v>0.27898200000000001</c:v>
                </c:pt>
                <c:pt idx="25">
                  <c:v>0</c:v>
                </c:pt>
                <c:pt idx="26">
                  <c:v>0.55804659999999995</c:v>
                </c:pt>
                <c:pt idx="27">
                  <c:v>1.39456</c:v>
                </c:pt>
                <c:pt idx="28">
                  <c:v>3.3456098000000001</c:v>
                </c:pt>
                <c:pt idx="29">
                  <c:v>2.7869126</c:v>
                </c:pt>
                <c:pt idx="30">
                  <c:v>2.7857248000000001</c:v>
                </c:pt>
                <c:pt idx="31">
                  <c:v>2.7842589000000002</c:v>
                </c:pt>
                <c:pt idx="32">
                  <c:v>1.3913933000000001</c:v>
                </c:pt>
                <c:pt idx="33">
                  <c:v>1.3906542</c:v>
                </c:pt>
                <c:pt idx="34">
                  <c:v>3.0576873999999998</c:v>
                </c:pt>
                <c:pt idx="35">
                  <c:v>2.2199836999999998</c:v>
                </c:pt>
                <c:pt idx="36">
                  <c:v>3.3225718</c:v>
                </c:pt>
                <c:pt idx="37">
                  <c:v>3.0389341999999999</c:v>
                </c:pt>
                <c:pt idx="38">
                  <c:v>5.5131046000000001</c:v>
                </c:pt>
                <c:pt idx="39">
                  <c:v>6.6050924999999996</c:v>
                </c:pt>
                <c:pt idx="40">
                  <c:v>9.3551032000000003</c:v>
                </c:pt>
                <c:pt idx="41">
                  <c:v>19.8072643</c:v>
                </c:pt>
                <c:pt idx="42">
                  <c:v>34.381463699999998</c:v>
                </c:pt>
                <c:pt idx="43">
                  <c:v>62.703511300000002</c:v>
                </c:pt>
                <c:pt idx="44">
                  <c:v>69.040067899999997</c:v>
                </c:pt>
                <c:pt idx="45">
                  <c:v>89.962694299999995</c:v>
                </c:pt>
                <c:pt idx="46">
                  <c:v>104.5650917</c:v>
                </c:pt>
                <c:pt idx="47">
                  <c:v>96.880556100000007</c:v>
                </c:pt>
                <c:pt idx="48">
                  <c:v>66.903812599999995</c:v>
                </c:pt>
                <c:pt idx="49">
                  <c:v>46.822539800000001</c:v>
                </c:pt>
                <c:pt idx="50">
                  <c:v>40.778202299999997</c:v>
                </c:pt>
                <c:pt idx="51">
                  <c:v>34.178233900000002</c:v>
                </c:pt>
                <c:pt idx="52">
                  <c:v>36.6675029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49-4946-8B42-18535E6234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60B6-4916-93FC-CDB9D95E3532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42.214466000000002</c:v>
                </c:pt>
                <c:pt idx="1">
                  <c:v>70.7268286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549-4946-8B42-18535E6234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41</c:f>
              <c:numCache>
                <c:formatCode>m/d/yyyy</c:formatCode>
                <c:ptCount val="207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  <c:pt idx="187">
                  <c:v>44556</c:v>
                </c:pt>
                <c:pt idx="188">
                  <c:v>44557</c:v>
                </c:pt>
                <c:pt idx="189">
                  <c:v>44558</c:v>
                </c:pt>
                <c:pt idx="190">
                  <c:v>44559</c:v>
                </c:pt>
                <c:pt idx="191">
                  <c:v>44560</c:v>
                </c:pt>
                <c:pt idx="192">
                  <c:v>44561</c:v>
                </c:pt>
                <c:pt idx="193">
                  <c:v>44562</c:v>
                </c:pt>
                <c:pt idx="194">
                  <c:v>44563</c:v>
                </c:pt>
                <c:pt idx="195">
                  <c:v>44564</c:v>
                </c:pt>
                <c:pt idx="196">
                  <c:v>44565</c:v>
                </c:pt>
                <c:pt idx="197">
                  <c:v>44566</c:v>
                </c:pt>
                <c:pt idx="198">
                  <c:v>44567</c:v>
                </c:pt>
                <c:pt idx="199">
                  <c:v>44568</c:v>
                </c:pt>
                <c:pt idx="200">
                  <c:v>44569</c:v>
                </c:pt>
                <c:pt idx="201">
                  <c:v>44570</c:v>
                </c:pt>
                <c:pt idx="202">
                  <c:v>44571</c:v>
                </c:pt>
                <c:pt idx="203">
                  <c:v>44572</c:v>
                </c:pt>
                <c:pt idx="204">
                  <c:v>44573</c:v>
                </c:pt>
                <c:pt idx="205">
                  <c:v>44574</c:v>
                </c:pt>
                <c:pt idx="206">
                  <c:v>44575</c:v>
                </c:pt>
              </c:numCache>
            </c:numRef>
          </c:cat>
          <c:val>
            <c:numRef>
              <c:f>Sheet1!$B$135:$B$341</c:f>
              <c:numCache>
                <c:formatCode>General</c:formatCode>
                <c:ptCount val="207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1</c:v>
                </c:pt>
                <c:pt idx="12">
                  <c:v>2</c:v>
                </c:pt>
                <c:pt idx="13">
                  <c:v>1</c:v>
                </c:pt>
                <c:pt idx="14">
                  <c:v>4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0</c:v>
                </c:pt>
                <c:pt idx="25">
                  <c:v>0</c:v>
                </c:pt>
                <c:pt idx="26">
                  <c:v>2</c:v>
                </c:pt>
                <c:pt idx="27">
                  <c:v>5</c:v>
                </c:pt>
                <c:pt idx="28">
                  <c:v>1</c:v>
                </c:pt>
                <c:pt idx="29">
                  <c:v>4</c:v>
                </c:pt>
                <c:pt idx="30">
                  <c:v>0</c:v>
                </c:pt>
                <c:pt idx="31">
                  <c:v>4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2</c:v>
                </c:pt>
                <c:pt idx="38">
                  <c:v>1</c:v>
                </c:pt>
                <c:pt idx="39">
                  <c:v>1</c:v>
                </c:pt>
                <c:pt idx="40">
                  <c:v>0</c:v>
                </c:pt>
                <c:pt idx="41">
                  <c:v>0</c:v>
                </c:pt>
                <c:pt idx="42">
                  <c:v>2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0</c:v>
                </c:pt>
                <c:pt idx="47">
                  <c:v>0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1</c:v>
                </c:pt>
                <c:pt idx="52">
                  <c:v>2</c:v>
                </c:pt>
                <c:pt idx="53">
                  <c:v>3</c:v>
                </c:pt>
                <c:pt idx="54">
                  <c:v>1</c:v>
                </c:pt>
                <c:pt idx="55">
                  <c:v>3</c:v>
                </c:pt>
                <c:pt idx="56">
                  <c:v>3</c:v>
                </c:pt>
                <c:pt idx="57">
                  <c:v>2</c:v>
                </c:pt>
                <c:pt idx="58">
                  <c:v>1</c:v>
                </c:pt>
                <c:pt idx="59">
                  <c:v>0</c:v>
                </c:pt>
                <c:pt idx="60">
                  <c:v>0</c:v>
                </c:pt>
                <c:pt idx="61">
                  <c:v>1</c:v>
                </c:pt>
                <c:pt idx="62">
                  <c:v>5</c:v>
                </c:pt>
                <c:pt idx="63">
                  <c:v>2</c:v>
                </c:pt>
                <c:pt idx="64">
                  <c:v>0</c:v>
                </c:pt>
                <c:pt idx="65">
                  <c:v>2</c:v>
                </c:pt>
                <c:pt idx="66">
                  <c:v>1</c:v>
                </c:pt>
                <c:pt idx="67">
                  <c:v>2</c:v>
                </c:pt>
                <c:pt idx="68">
                  <c:v>1</c:v>
                </c:pt>
                <c:pt idx="69">
                  <c:v>0</c:v>
                </c:pt>
                <c:pt idx="70">
                  <c:v>2</c:v>
                </c:pt>
                <c:pt idx="71">
                  <c:v>1</c:v>
                </c:pt>
                <c:pt idx="72">
                  <c:v>6</c:v>
                </c:pt>
                <c:pt idx="73">
                  <c:v>6</c:v>
                </c:pt>
                <c:pt idx="74">
                  <c:v>1</c:v>
                </c:pt>
                <c:pt idx="75">
                  <c:v>1</c:v>
                </c:pt>
                <c:pt idx="76">
                  <c:v>2</c:v>
                </c:pt>
                <c:pt idx="77">
                  <c:v>6</c:v>
                </c:pt>
                <c:pt idx="78">
                  <c:v>1</c:v>
                </c:pt>
                <c:pt idx="79">
                  <c:v>4</c:v>
                </c:pt>
                <c:pt idx="80">
                  <c:v>0</c:v>
                </c:pt>
                <c:pt idx="81">
                  <c:v>1</c:v>
                </c:pt>
                <c:pt idx="82">
                  <c:v>2</c:v>
                </c:pt>
                <c:pt idx="83">
                  <c:v>3</c:v>
                </c:pt>
                <c:pt idx="84">
                  <c:v>5</c:v>
                </c:pt>
                <c:pt idx="85">
                  <c:v>3</c:v>
                </c:pt>
                <c:pt idx="86">
                  <c:v>8</c:v>
                </c:pt>
                <c:pt idx="87">
                  <c:v>6</c:v>
                </c:pt>
                <c:pt idx="88">
                  <c:v>2</c:v>
                </c:pt>
                <c:pt idx="89">
                  <c:v>2</c:v>
                </c:pt>
                <c:pt idx="90">
                  <c:v>10</c:v>
                </c:pt>
                <c:pt idx="91">
                  <c:v>7</c:v>
                </c:pt>
                <c:pt idx="92">
                  <c:v>6</c:v>
                </c:pt>
                <c:pt idx="93">
                  <c:v>5</c:v>
                </c:pt>
                <c:pt idx="94">
                  <c:v>7</c:v>
                </c:pt>
                <c:pt idx="95">
                  <c:v>6</c:v>
                </c:pt>
                <c:pt idx="96">
                  <c:v>6</c:v>
                </c:pt>
                <c:pt idx="97">
                  <c:v>5</c:v>
                </c:pt>
                <c:pt idx="98">
                  <c:v>9</c:v>
                </c:pt>
                <c:pt idx="99">
                  <c:v>12</c:v>
                </c:pt>
                <c:pt idx="100">
                  <c:v>16</c:v>
                </c:pt>
                <c:pt idx="101">
                  <c:v>8</c:v>
                </c:pt>
                <c:pt idx="102">
                  <c:v>5</c:v>
                </c:pt>
                <c:pt idx="103">
                  <c:v>8</c:v>
                </c:pt>
                <c:pt idx="104">
                  <c:v>10</c:v>
                </c:pt>
                <c:pt idx="105">
                  <c:v>13</c:v>
                </c:pt>
                <c:pt idx="106">
                  <c:v>9</c:v>
                </c:pt>
                <c:pt idx="107">
                  <c:v>8</c:v>
                </c:pt>
                <c:pt idx="108">
                  <c:v>9</c:v>
                </c:pt>
                <c:pt idx="109">
                  <c:v>5</c:v>
                </c:pt>
                <c:pt idx="110">
                  <c:v>4</c:v>
                </c:pt>
                <c:pt idx="111">
                  <c:v>18</c:v>
                </c:pt>
                <c:pt idx="112">
                  <c:v>19</c:v>
                </c:pt>
                <c:pt idx="113">
                  <c:v>22</c:v>
                </c:pt>
                <c:pt idx="114">
                  <c:v>21</c:v>
                </c:pt>
                <c:pt idx="115">
                  <c:v>17</c:v>
                </c:pt>
                <c:pt idx="116">
                  <c:v>10</c:v>
                </c:pt>
                <c:pt idx="117">
                  <c:v>10</c:v>
                </c:pt>
                <c:pt idx="118">
                  <c:v>35</c:v>
                </c:pt>
                <c:pt idx="119">
                  <c:v>29</c:v>
                </c:pt>
                <c:pt idx="120">
                  <c:v>26</c:v>
                </c:pt>
                <c:pt idx="121">
                  <c:v>53</c:v>
                </c:pt>
                <c:pt idx="122">
                  <c:v>43</c:v>
                </c:pt>
                <c:pt idx="123">
                  <c:v>34</c:v>
                </c:pt>
                <c:pt idx="124">
                  <c:v>11</c:v>
                </c:pt>
                <c:pt idx="125">
                  <c:v>65</c:v>
                </c:pt>
                <c:pt idx="126">
                  <c:v>68</c:v>
                </c:pt>
                <c:pt idx="127">
                  <c:v>77</c:v>
                </c:pt>
                <c:pt idx="128">
                  <c:v>35</c:v>
                </c:pt>
                <c:pt idx="129">
                  <c:v>82</c:v>
                </c:pt>
                <c:pt idx="130">
                  <c:v>63</c:v>
                </c:pt>
                <c:pt idx="131">
                  <c:v>37</c:v>
                </c:pt>
                <c:pt idx="132">
                  <c:v>111</c:v>
                </c:pt>
                <c:pt idx="133">
                  <c:v>104</c:v>
                </c:pt>
                <c:pt idx="134">
                  <c:v>117</c:v>
                </c:pt>
                <c:pt idx="135">
                  <c:v>102</c:v>
                </c:pt>
                <c:pt idx="136">
                  <c:v>112</c:v>
                </c:pt>
                <c:pt idx="137">
                  <c:v>83</c:v>
                </c:pt>
                <c:pt idx="138">
                  <c:v>28</c:v>
                </c:pt>
                <c:pt idx="139">
                  <c:v>134</c:v>
                </c:pt>
                <c:pt idx="140">
                  <c:v>147</c:v>
                </c:pt>
                <c:pt idx="141">
                  <c:v>168</c:v>
                </c:pt>
                <c:pt idx="142">
                  <c:v>96</c:v>
                </c:pt>
                <c:pt idx="143">
                  <c:v>161</c:v>
                </c:pt>
                <c:pt idx="144">
                  <c:v>97</c:v>
                </c:pt>
                <c:pt idx="145">
                  <c:v>54</c:v>
                </c:pt>
                <c:pt idx="146">
                  <c:v>160</c:v>
                </c:pt>
                <c:pt idx="147">
                  <c:v>229</c:v>
                </c:pt>
                <c:pt idx="148">
                  <c:v>121</c:v>
                </c:pt>
                <c:pt idx="149">
                  <c:v>167</c:v>
                </c:pt>
                <c:pt idx="150">
                  <c:v>236</c:v>
                </c:pt>
                <c:pt idx="151">
                  <c:v>154</c:v>
                </c:pt>
                <c:pt idx="152">
                  <c:v>84</c:v>
                </c:pt>
                <c:pt idx="153">
                  <c:v>192</c:v>
                </c:pt>
                <c:pt idx="154">
                  <c:v>259</c:v>
                </c:pt>
                <c:pt idx="155">
                  <c:v>141</c:v>
                </c:pt>
                <c:pt idx="156">
                  <c:v>214</c:v>
                </c:pt>
                <c:pt idx="157">
                  <c:v>188</c:v>
                </c:pt>
                <c:pt idx="158">
                  <c:v>108</c:v>
                </c:pt>
                <c:pt idx="159">
                  <c:v>78</c:v>
                </c:pt>
                <c:pt idx="160">
                  <c:v>200</c:v>
                </c:pt>
                <c:pt idx="161">
                  <c:v>164</c:v>
                </c:pt>
                <c:pt idx="162">
                  <c:v>175</c:v>
                </c:pt>
                <c:pt idx="163">
                  <c:v>145</c:v>
                </c:pt>
                <c:pt idx="164">
                  <c:v>146</c:v>
                </c:pt>
                <c:pt idx="165">
                  <c:v>86</c:v>
                </c:pt>
                <c:pt idx="166">
                  <c:v>65</c:v>
                </c:pt>
                <c:pt idx="167">
                  <c:v>167</c:v>
                </c:pt>
                <c:pt idx="168">
                  <c:v>153</c:v>
                </c:pt>
                <c:pt idx="169">
                  <c:v>120</c:v>
                </c:pt>
                <c:pt idx="170">
                  <c:v>127</c:v>
                </c:pt>
                <c:pt idx="171">
                  <c:v>112</c:v>
                </c:pt>
                <c:pt idx="172">
                  <c:v>74</c:v>
                </c:pt>
                <c:pt idx="173">
                  <c:v>58</c:v>
                </c:pt>
                <c:pt idx="174">
                  <c:v>103</c:v>
                </c:pt>
                <c:pt idx="175">
                  <c:v>125</c:v>
                </c:pt>
                <c:pt idx="176">
                  <c:v>86</c:v>
                </c:pt>
                <c:pt idx="177">
                  <c:v>66</c:v>
                </c:pt>
                <c:pt idx="178">
                  <c:v>81</c:v>
                </c:pt>
                <c:pt idx="179">
                  <c:v>48</c:v>
                </c:pt>
                <c:pt idx="180">
                  <c:v>33</c:v>
                </c:pt>
                <c:pt idx="181">
                  <c:v>90</c:v>
                </c:pt>
                <c:pt idx="182">
                  <c:v>83</c:v>
                </c:pt>
                <c:pt idx="183">
                  <c:v>52</c:v>
                </c:pt>
                <c:pt idx="184">
                  <c:v>60</c:v>
                </c:pt>
                <c:pt idx="185">
                  <c:v>22</c:v>
                </c:pt>
                <c:pt idx="186">
                  <c:v>18</c:v>
                </c:pt>
                <c:pt idx="187">
                  <c:v>18</c:v>
                </c:pt>
                <c:pt idx="188">
                  <c:v>75</c:v>
                </c:pt>
                <c:pt idx="189">
                  <c:v>91</c:v>
                </c:pt>
                <c:pt idx="190">
                  <c:v>56</c:v>
                </c:pt>
                <c:pt idx="191">
                  <c:v>53</c:v>
                </c:pt>
                <c:pt idx="192">
                  <c:v>52</c:v>
                </c:pt>
                <c:pt idx="193">
                  <c:v>12</c:v>
                </c:pt>
                <c:pt idx="194">
                  <c:v>36</c:v>
                </c:pt>
                <c:pt idx="195">
                  <c:v>98</c:v>
                </c:pt>
                <c:pt idx="196">
                  <c:v>80</c:v>
                </c:pt>
                <c:pt idx="197">
                  <c:v>56</c:v>
                </c:pt>
                <c:pt idx="198">
                  <c:v>59</c:v>
                </c:pt>
                <c:pt idx="199">
                  <c:v>67</c:v>
                </c:pt>
                <c:pt idx="200">
                  <c:v>37</c:v>
                </c:pt>
                <c:pt idx="201">
                  <c:v>30</c:v>
                </c:pt>
                <c:pt idx="202">
                  <c:v>71</c:v>
                </c:pt>
                <c:pt idx="203">
                  <c:v>105</c:v>
                </c:pt>
                <c:pt idx="204">
                  <c:v>115</c:v>
                </c:pt>
                <c:pt idx="205">
                  <c:v>96</c:v>
                </c:pt>
                <c:pt idx="206">
                  <c:v>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9">
                  <c:v>0</c:v>
                </c:pt>
                <c:pt idx="10">
                  <c:v>1.2684381</c:v>
                </c:pt>
                <c:pt idx="11">
                  <c:v>3.8053143999999999</c:v>
                </c:pt>
                <c:pt idx="12">
                  <c:v>10.2884428</c:v>
                </c:pt>
                <c:pt idx="13">
                  <c:v>14.8001556</c:v>
                </c:pt>
                <c:pt idx="14">
                  <c:v>7.4720081</c:v>
                </c:pt>
                <c:pt idx="15">
                  <c:v>7.8964771000000002</c:v>
                </c:pt>
                <c:pt idx="16">
                  <c:v>4.5131445000000001</c:v>
                </c:pt>
                <c:pt idx="17">
                  <c:v>5.0781112000000004</c:v>
                </c:pt>
                <c:pt idx="18">
                  <c:v>2.9623276000000001</c:v>
                </c:pt>
                <c:pt idx="19">
                  <c:v>0.84639960000000003</c:v>
                </c:pt>
                <c:pt idx="20">
                  <c:v>0.70534889999999995</c:v>
                </c:pt>
                <c:pt idx="21">
                  <c:v>1.5518027000000001</c:v>
                </c:pt>
                <c:pt idx="22">
                  <c:v>1.6929425</c:v>
                </c:pt>
                <c:pt idx="23">
                  <c:v>2.1162766999999998</c:v>
                </c:pt>
                <c:pt idx="24">
                  <c:v>1.9752751</c:v>
                </c:pt>
                <c:pt idx="25">
                  <c:v>1.1287811999999999</c:v>
                </c:pt>
                <c:pt idx="26">
                  <c:v>1.8341917999999999</c:v>
                </c:pt>
                <c:pt idx="27">
                  <c:v>3.2447241</c:v>
                </c:pt>
                <c:pt idx="28">
                  <c:v>2.3979902000000002</c:v>
                </c:pt>
                <c:pt idx="29">
                  <c:v>5.3595782999999999</c:v>
                </c:pt>
                <c:pt idx="30">
                  <c:v>3.6667127000000002</c:v>
                </c:pt>
                <c:pt idx="31">
                  <c:v>3.5255559999999999</c:v>
                </c:pt>
                <c:pt idx="32">
                  <c:v>5.0766432000000004</c:v>
                </c:pt>
                <c:pt idx="33">
                  <c:v>5.2174991999999998</c:v>
                </c:pt>
                <c:pt idx="34">
                  <c:v>9.1653470000000006</c:v>
                </c:pt>
                <c:pt idx="35">
                  <c:v>14.3694556</c:v>
                </c:pt>
                <c:pt idx="36">
                  <c:v>29.405102400000001</c:v>
                </c:pt>
                <c:pt idx="37">
                  <c:v>37.657321099999997</c:v>
                </c:pt>
                <c:pt idx="38">
                  <c:v>54.869261000000002</c:v>
                </c:pt>
                <c:pt idx="39">
                  <c:v>92.493066499999998</c:v>
                </c:pt>
                <c:pt idx="40">
                  <c:v>196.6842259</c:v>
                </c:pt>
                <c:pt idx="41">
                  <c:v>333.2396402</c:v>
                </c:pt>
                <c:pt idx="42">
                  <c:v>470.485027</c:v>
                </c:pt>
                <c:pt idx="43">
                  <c:v>366.02843100000001</c:v>
                </c:pt>
                <c:pt idx="44">
                  <c:v>283.40775159999998</c:v>
                </c:pt>
                <c:pt idx="45">
                  <c:v>183.2703167</c:v>
                </c:pt>
                <c:pt idx="46">
                  <c:v>177.38118589999999</c:v>
                </c:pt>
                <c:pt idx="47">
                  <c:v>133.9763456</c:v>
                </c:pt>
                <c:pt idx="48">
                  <c:v>165.90263519999999</c:v>
                </c:pt>
                <c:pt idx="49">
                  <c:v>166.5820579</c:v>
                </c:pt>
                <c:pt idx="50">
                  <c:v>193.31263010000001</c:v>
                </c:pt>
                <c:pt idx="51">
                  <c:v>198.25749379999999</c:v>
                </c:pt>
                <c:pt idx="52">
                  <c:v>298.3166418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C63-4AAB-97B9-1EE2E94FBFD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241.80767499999999</c:v>
                </c:pt>
                <c:pt idx="1">
                  <c:v>181.5882531</c:v>
                </c:pt>
                <c:pt idx="2">
                  <c:v>148.4435259</c:v>
                </c:pt>
                <c:pt idx="3">
                  <c:v>115.8094456</c:v>
                </c:pt>
                <c:pt idx="4">
                  <c:v>96.175330500000001</c:v>
                </c:pt>
                <c:pt idx="5">
                  <c:v>88.830532099999999</c:v>
                </c:pt>
                <c:pt idx="6">
                  <c:v>88.278772099999998</c:v>
                </c:pt>
                <c:pt idx="7">
                  <c:v>101.1911123</c:v>
                </c:pt>
                <c:pt idx="8">
                  <c:v>107.57329900000001</c:v>
                </c:pt>
                <c:pt idx="9">
                  <c:v>93.511625100000003</c:v>
                </c:pt>
                <c:pt idx="10">
                  <c:v>80.288205500000004</c:v>
                </c:pt>
                <c:pt idx="11">
                  <c:v>62.2281847</c:v>
                </c:pt>
                <c:pt idx="12">
                  <c:v>41.832658199999997</c:v>
                </c:pt>
                <c:pt idx="13">
                  <c:v>36.126417500000002</c:v>
                </c:pt>
                <c:pt idx="14">
                  <c:v>22.956079200000001</c:v>
                </c:pt>
                <c:pt idx="15">
                  <c:v>19.066698899999999</c:v>
                </c:pt>
                <c:pt idx="16">
                  <c:v>8.8345196999999995</c:v>
                </c:pt>
                <c:pt idx="17">
                  <c:v>11.4502974</c:v>
                </c:pt>
                <c:pt idx="18">
                  <c:v>8.8318498000000005</c:v>
                </c:pt>
                <c:pt idx="19">
                  <c:v>4.1414555000000002</c:v>
                </c:pt>
                <c:pt idx="20">
                  <c:v>3.5905849000000001</c:v>
                </c:pt>
                <c:pt idx="21">
                  <c:v>1.2433342999999999</c:v>
                </c:pt>
                <c:pt idx="22">
                  <c:v>1.3817002</c:v>
                </c:pt>
                <c:pt idx="23">
                  <c:v>0.69092359999999997</c:v>
                </c:pt>
                <c:pt idx="24">
                  <c:v>0.96739330000000001</c:v>
                </c:pt>
                <c:pt idx="25">
                  <c:v>0.69106780000000001</c:v>
                </c:pt>
                <c:pt idx="26">
                  <c:v>1.1051708</c:v>
                </c:pt>
                <c:pt idx="27">
                  <c:v>1.1041137000000001</c:v>
                </c:pt>
                <c:pt idx="28">
                  <c:v>1.5167079000000001</c:v>
                </c:pt>
                <c:pt idx="29">
                  <c:v>1.2397598999999999</c:v>
                </c:pt>
                <c:pt idx="30">
                  <c:v>0.82593430000000001</c:v>
                </c:pt>
                <c:pt idx="31">
                  <c:v>0.96383680000000005</c:v>
                </c:pt>
                <c:pt idx="32">
                  <c:v>2.0660530000000001</c:v>
                </c:pt>
                <c:pt idx="33">
                  <c:v>0.96447819999999995</c:v>
                </c:pt>
                <c:pt idx="34">
                  <c:v>1.2404297</c:v>
                </c:pt>
                <c:pt idx="35">
                  <c:v>2.8929643999999999</c:v>
                </c:pt>
                <c:pt idx="36">
                  <c:v>2.3399893999999999</c:v>
                </c:pt>
                <c:pt idx="37">
                  <c:v>5.3637737999999997</c:v>
                </c:pt>
                <c:pt idx="38">
                  <c:v>6.5961246999999998</c:v>
                </c:pt>
                <c:pt idx="39">
                  <c:v>9.0644399</c:v>
                </c:pt>
                <c:pt idx="40">
                  <c:v>10.9869132</c:v>
                </c:pt>
                <c:pt idx="41">
                  <c:v>18.814933799999999</c:v>
                </c:pt>
                <c:pt idx="42">
                  <c:v>44.084262699999996</c:v>
                </c:pt>
                <c:pt idx="43">
                  <c:v>70.177655200000004</c:v>
                </c:pt>
                <c:pt idx="44">
                  <c:v>99.160568699999999</c:v>
                </c:pt>
                <c:pt idx="45">
                  <c:v>116.19841630000001</c:v>
                </c:pt>
                <c:pt idx="46">
                  <c:v>156.17681350000001</c:v>
                </c:pt>
                <c:pt idx="47">
                  <c:v>142.5896645</c:v>
                </c:pt>
                <c:pt idx="48">
                  <c:v>109.8117258</c:v>
                </c:pt>
                <c:pt idx="49">
                  <c:v>86.230015399999999</c:v>
                </c:pt>
                <c:pt idx="50">
                  <c:v>56.561553000000004</c:v>
                </c:pt>
                <c:pt idx="51">
                  <c:v>42.828144799999997</c:v>
                </c:pt>
                <c:pt idx="52">
                  <c:v>42.9153505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C63-4AAB-97B9-1EE2E94FBFD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BC63-4AAB-97B9-1EE2E94FBFD2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46.630144299999998</c:v>
                </c:pt>
                <c:pt idx="1">
                  <c:v>59.1835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C63-4AAB-97B9-1EE2E94FBF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41</c:f>
              <c:numCache>
                <c:formatCode>m/d/yyyy</c:formatCode>
                <c:ptCount val="207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  <c:pt idx="187">
                  <c:v>44556</c:v>
                </c:pt>
                <c:pt idx="188">
                  <c:v>44557</c:v>
                </c:pt>
                <c:pt idx="189">
                  <c:v>44558</c:v>
                </c:pt>
                <c:pt idx="190">
                  <c:v>44559</c:v>
                </c:pt>
                <c:pt idx="191">
                  <c:v>44560</c:v>
                </c:pt>
                <c:pt idx="192">
                  <c:v>44561</c:v>
                </c:pt>
                <c:pt idx="193">
                  <c:v>44562</c:v>
                </c:pt>
                <c:pt idx="194">
                  <c:v>44563</c:v>
                </c:pt>
                <c:pt idx="195">
                  <c:v>44564</c:v>
                </c:pt>
                <c:pt idx="196">
                  <c:v>44565</c:v>
                </c:pt>
                <c:pt idx="197">
                  <c:v>44566</c:v>
                </c:pt>
                <c:pt idx="198">
                  <c:v>44567</c:v>
                </c:pt>
                <c:pt idx="199">
                  <c:v>44568</c:v>
                </c:pt>
                <c:pt idx="200">
                  <c:v>44569</c:v>
                </c:pt>
                <c:pt idx="201">
                  <c:v>44570</c:v>
                </c:pt>
                <c:pt idx="202">
                  <c:v>44571</c:v>
                </c:pt>
                <c:pt idx="203">
                  <c:v>44572</c:v>
                </c:pt>
                <c:pt idx="204">
                  <c:v>44573</c:v>
                </c:pt>
                <c:pt idx="205">
                  <c:v>44574</c:v>
                </c:pt>
                <c:pt idx="206">
                  <c:v>44575</c:v>
                </c:pt>
              </c:numCache>
            </c:numRef>
          </c:cat>
          <c:val>
            <c:numRef>
              <c:f>Sheet1!$B$135:$B$341</c:f>
              <c:numCache>
                <c:formatCode>General</c:formatCode>
                <c:ptCount val="207"/>
                <c:pt idx="0">
                  <c:v>2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2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4</c:v>
                </c:pt>
                <c:pt idx="18">
                  <c:v>4</c:v>
                </c:pt>
                <c:pt idx="19">
                  <c:v>0</c:v>
                </c:pt>
                <c:pt idx="20">
                  <c:v>3</c:v>
                </c:pt>
                <c:pt idx="21">
                  <c:v>0</c:v>
                </c:pt>
                <c:pt idx="22">
                  <c:v>4</c:v>
                </c:pt>
                <c:pt idx="23">
                  <c:v>2</c:v>
                </c:pt>
                <c:pt idx="24">
                  <c:v>5</c:v>
                </c:pt>
                <c:pt idx="25">
                  <c:v>1</c:v>
                </c:pt>
                <c:pt idx="26">
                  <c:v>1</c:v>
                </c:pt>
                <c:pt idx="27">
                  <c:v>4</c:v>
                </c:pt>
                <c:pt idx="28">
                  <c:v>5</c:v>
                </c:pt>
                <c:pt idx="29">
                  <c:v>1</c:v>
                </c:pt>
                <c:pt idx="30">
                  <c:v>3</c:v>
                </c:pt>
                <c:pt idx="31">
                  <c:v>2</c:v>
                </c:pt>
                <c:pt idx="32">
                  <c:v>0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1</c:v>
                </c:pt>
                <c:pt idx="37">
                  <c:v>4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4</c:v>
                </c:pt>
                <c:pt idx="43">
                  <c:v>3</c:v>
                </c:pt>
                <c:pt idx="44">
                  <c:v>1</c:v>
                </c:pt>
                <c:pt idx="45">
                  <c:v>3</c:v>
                </c:pt>
                <c:pt idx="46">
                  <c:v>1</c:v>
                </c:pt>
                <c:pt idx="47">
                  <c:v>0</c:v>
                </c:pt>
                <c:pt idx="48">
                  <c:v>8</c:v>
                </c:pt>
                <c:pt idx="49">
                  <c:v>1</c:v>
                </c:pt>
                <c:pt idx="50">
                  <c:v>1</c:v>
                </c:pt>
                <c:pt idx="51">
                  <c:v>2</c:v>
                </c:pt>
                <c:pt idx="52">
                  <c:v>7</c:v>
                </c:pt>
                <c:pt idx="53">
                  <c:v>2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0</c:v>
                </c:pt>
                <c:pt idx="59">
                  <c:v>3</c:v>
                </c:pt>
                <c:pt idx="60">
                  <c:v>2</c:v>
                </c:pt>
                <c:pt idx="61">
                  <c:v>2</c:v>
                </c:pt>
                <c:pt idx="62">
                  <c:v>1</c:v>
                </c:pt>
                <c:pt idx="63">
                  <c:v>3</c:v>
                </c:pt>
                <c:pt idx="64">
                  <c:v>5</c:v>
                </c:pt>
                <c:pt idx="65">
                  <c:v>2</c:v>
                </c:pt>
                <c:pt idx="66">
                  <c:v>2</c:v>
                </c:pt>
                <c:pt idx="67">
                  <c:v>0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2</c:v>
                </c:pt>
                <c:pt idx="72">
                  <c:v>5</c:v>
                </c:pt>
                <c:pt idx="73">
                  <c:v>6</c:v>
                </c:pt>
                <c:pt idx="74">
                  <c:v>5</c:v>
                </c:pt>
                <c:pt idx="75">
                  <c:v>1</c:v>
                </c:pt>
                <c:pt idx="76">
                  <c:v>5</c:v>
                </c:pt>
                <c:pt idx="77">
                  <c:v>4</c:v>
                </c:pt>
                <c:pt idx="78">
                  <c:v>1</c:v>
                </c:pt>
                <c:pt idx="79">
                  <c:v>3</c:v>
                </c:pt>
                <c:pt idx="80">
                  <c:v>2</c:v>
                </c:pt>
                <c:pt idx="81">
                  <c:v>0</c:v>
                </c:pt>
                <c:pt idx="82">
                  <c:v>3</c:v>
                </c:pt>
                <c:pt idx="83">
                  <c:v>2</c:v>
                </c:pt>
                <c:pt idx="84">
                  <c:v>3</c:v>
                </c:pt>
                <c:pt idx="85">
                  <c:v>5</c:v>
                </c:pt>
                <c:pt idx="86">
                  <c:v>7</c:v>
                </c:pt>
                <c:pt idx="87">
                  <c:v>4</c:v>
                </c:pt>
                <c:pt idx="88">
                  <c:v>2</c:v>
                </c:pt>
                <c:pt idx="89">
                  <c:v>6</c:v>
                </c:pt>
                <c:pt idx="90">
                  <c:v>8</c:v>
                </c:pt>
                <c:pt idx="91">
                  <c:v>9</c:v>
                </c:pt>
                <c:pt idx="92">
                  <c:v>8</c:v>
                </c:pt>
                <c:pt idx="93">
                  <c:v>7</c:v>
                </c:pt>
                <c:pt idx="94">
                  <c:v>5</c:v>
                </c:pt>
                <c:pt idx="95">
                  <c:v>4</c:v>
                </c:pt>
                <c:pt idx="96">
                  <c:v>2</c:v>
                </c:pt>
                <c:pt idx="97">
                  <c:v>7</c:v>
                </c:pt>
                <c:pt idx="98">
                  <c:v>6</c:v>
                </c:pt>
                <c:pt idx="99">
                  <c:v>9</c:v>
                </c:pt>
                <c:pt idx="100">
                  <c:v>12</c:v>
                </c:pt>
                <c:pt idx="101">
                  <c:v>11</c:v>
                </c:pt>
                <c:pt idx="102">
                  <c:v>4</c:v>
                </c:pt>
                <c:pt idx="103">
                  <c:v>7</c:v>
                </c:pt>
                <c:pt idx="104">
                  <c:v>10</c:v>
                </c:pt>
                <c:pt idx="105">
                  <c:v>13</c:v>
                </c:pt>
                <c:pt idx="106">
                  <c:v>13</c:v>
                </c:pt>
                <c:pt idx="107">
                  <c:v>16</c:v>
                </c:pt>
                <c:pt idx="108">
                  <c:v>10</c:v>
                </c:pt>
                <c:pt idx="109">
                  <c:v>8</c:v>
                </c:pt>
                <c:pt idx="110">
                  <c:v>5</c:v>
                </c:pt>
                <c:pt idx="111">
                  <c:v>19</c:v>
                </c:pt>
                <c:pt idx="112">
                  <c:v>31</c:v>
                </c:pt>
                <c:pt idx="113">
                  <c:v>18</c:v>
                </c:pt>
                <c:pt idx="114">
                  <c:v>19</c:v>
                </c:pt>
                <c:pt idx="115">
                  <c:v>14</c:v>
                </c:pt>
                <c:pt idx="116">
                  <c:v>9</c:v>
                </c:pt>
                <c:pt idx="117">
                  <c:v>13</c:v>
                </c:pt>
                <c:pt idx="118">
                  <c:v>39</c:v>
                </c:pt>
                <c:pt idx="119">
                  <c:v>55</c:v>
                </c:pt>
                <c:pt idx="120">
                  <c:v>50</c:v>
                </c:pt>
                <c:pt idx="121">
                  <c:v>54</c:v>
                </c:pt>
                <c:pt idx="122">
                  <c:v>46</c:v>
                </c:pt>
                <c:pt idx="123">
                  <c:v>28</c:v>
                </c:pt>
                <c:pt idx="124">
                  <c:v>22</c:v>
                </c:pt>
                <c:pt idx="125">
                  <c:v>81</c:v>
                </c:pt>
                <c:pt idx="126">
                  <c:v>87</c:v>
                </c:pt>
                <c:pt idx="127">
                  <c:v>65</c:v>
                </c:pt>
                <c:pt idx="128">
                  <c:v>41</c:v>
                </c:pt>
                <c:pt idx="129">
                  <c:v>83</c:v>
                </c:pt>
                <c:pt idx="130">
                  <c:v>55</c:v>
                </c:pt>
                <c:pt idx="131">
                  <c:v>42</c:v>
                </c:pt>
                <c:pt idx="132">
                  <c:v>136</c:v>
                </c:pt>
                <c:pt idx="133">
                  <c:v>128</c:v>
                </c:pt>
                <c:pt idx="134">
                  <c:v>107</c:v>
                </c:pt>
                <c:pt idx="135">
                  <c:v>116</c:v>
                </c:pt>
                <c:pt idx="136">
                  <c:v>133</c:v>
                </c:pt>
                <c:pt idx="137">
                  <c:v>55</c:v>
                </c:pt>
                <c:pt idx="138">
                  <c:v>39</c:v>
                </c:pt>
                <c:pt idx="139">
                  <c:v>129</c:v>
                </c:pt>
                <c:pt idx="140">
                  <c:v>150</c:v>
                </c:pt>
                <c:pt idx="141">
                  <c:v>143</c:v>
                </c:pt>
                <c:pt idx="142">
                  <c:v>121</c:v>
                </c:pt>
                <c:pt idx="143">
                  <c:v>170</c:v>
                </c:pt>
                <c:pt idx="144">
                  <c:v>97</c:v>
                </c:pt>
                <c:pt idx="145">
                  <c:v>53</c:v>
                </c:pt>
                <c:pt idx="146">
                  <c:v>166</c:v>
                </c:pt>
                <c:pt idx="147">
                  <c:v>201</c:v>
                </c:pt>
                <c:pt idx="148">
                  <c:v>144</c:v>
                </c:pt>
                <c:pt idx="149">
                  <c:v>166</c:v>
                </c:pt>
                <c:pt idx="150">
                  <c:v>257</c:v>
                </c:pt>
                <c:pt idx="151">
                  <c:v>125</c:v>
                </c:pt>
                <c:pt idx="152">
                  <c:v>91</c:v>
                </c:pt>
                <c:pt idx="153">
                  <c:v>205</c:v>
                </c:pt>
                <c:pt idx="154">
                  <c:v>216</c:v>
                </c:pt>
                <c:pt idx="155">
                  <c:v>184</c:v>
                </c:pt>
                <c:pt idx="156">
                  <c:v>262</c:v>
                </c:pt>
                <c:pt idx="157">
                  <c:v>158</c:v>
                </c:pt>
                <c:pt idx="158">
                  <c:v>117</c:v>
                </c:pt>
                <c:pt idx="159">
                  <c:v>83</c:v>
                </c:pt>
                <c:pt idx="160">
                  <c:v>210</c:v>
                </c:pt>
                <c:pt idx="161">
                  <c:v>193</c:v>
                </c:pt>
                <c:pt idx="162">
                  <c:v>171</c:v>
                </c:pt>
                <c:pt idx="163">
                  <c:v>131</c:v>
                </c:pt>
                <c:pt idx="164">
                  <c:v>161</c:v>
                </c:pt>
                <c:pt idx="165">
                  <c:v>100</c:v>
                </c:pt>
                <c:pt idx="166">
                  <c:v>66</c:v>
                </c:pt>
                <c:pt idx="167">
                  <c:v>199</c:v>
                </c:pt>
                <c:pt idx="168">
                  <c:v>168</c:v>
                </c:pt>
                <c:pt idx="169">
                  <c:v>142</c:v>
                </c:pt>
                <c:pt idx="170">
                  <c:v>116</c:v>
                </c:pt>
                <c:pt idx="171">
                  <c:v>99</c:v>
                </c:pt>
                <c:pt idx="172">
                  <c:v>78</c:v>
                </c:pt>
                <c:pt idx="173">
                  <c:v>62</c:v>
                </c:pt>
                <c:pt idx="174">
                  <c:v>122</c:v>
                </c:pt>
                <c:pt idx="175">
                  <c:v>172</c:v>
                </c:pt>
                <c:pt idx="176">
                  <c:v>97</c:v>
                </c:pt>
                <c:pt idx="177">
                  <c:v>89</c:v>
                </c:pt>
                <c:pt idx="178">
                  <c:v>97</c:v>
                </c:pt>
                <c:pt idx="179">
                  <c:v>64</c:v>
                </c:pt>
                <c:pt idx="180">
                  <c:v>42</c:v>
                </c:pt>
                <c:pt idx="181">
                  <c:v>106</c:v>
                </c:pt>
                <c:pt idx="182">
                  <c:v>97</c:v>
                </c:pt>
                <c:pt idx="183">
                  <c:v>44</c:v>
                </c:pt>
                <c:pt idx="184">
                  <c:v>75</c:v>
                </c:pt>
                <c:pt idx="185">
                  <c:v>22</c:v>
                </c:pt>
                <c:pt idx="186">
                  <c:v>14</c:v>
                </c:pt>
                <c:pt idx="187">
                  <c:v>22</c:v>
                </c:pt>
                <c:pt idx="188">
                  <c:v>70</c:v>
                </c:pt>
                <c:pt idx="189">
                  <c:v>95</c:v>
                </c:pt>
                <c:pt idx="190">
                  <c:v>67</c:v>
                </c:pt>
                <c:pt idx="191">
                  <c:v>66</c:v>
                </c:pt>
                <c:pt idx="192">
                  <c:v>76</c:v>
                </c:pt>
                <c:pt idx="193">
                  <c:v>15</c:v>
                </c:pt>
                <c:pt idx="194">
                  <c:v>27</c:v>
                </c:pt>
                <c:pt idx="195">
                  <c:v>100</c:v>
                </c:pt>
                <c:pt idx="196">
                  <c:v>96</c:v>
                </c:pt>
                <c:pt idx="197">
                  <c:v>84</c:v>
                </c:pt>
                <c:pt idx="198">
                  <c:v>78</c:v>
                </c:pt>
                <c:pt idx="199">
                  <c:v>76</c:v>
                </c:pt>
                <c:pt idx="200">
                  <c:v>35</c:v>
                </c:pt>
                <c:pt idx="201">
                  <c:v>29</c:v>
                </c:pt>
                <c:pt idx="202">
                  <c:v>84</c:v>
                </c:pt>
                <c:pt idx="203">
                  <c:v>115</c:v>
                </c:pt>
                <c:pt idx="204">
                  <c:v>106</c:v>
                </c:pt>
                <c:pt idx="205">
                  <c:v>86</c:v>
                </c:pt>
                <c:pt idx="206">
                  <c:v>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9">
                  <c:v>0.32531480000000002</c:v>
                </c:pt>
                <c:pt idx="10">
                  <c:v>0.48797220000000002</c:v>
                </c:pt>
                <c:pt idx="11">
                  <c:v>3.9037782999999999</c:v>
                </c:pt>
                <c:pt idx="12">
                  <c:v>9.2714736000000002</c:v>
                </c:pt>
                <c:pt idx="13">
                  <c:v>10.726509699999999</c:v>
                </c:pt>
                <c:pt idx="14">
                  <c:v>10.873199</c:v>
                </c:pt>
                <c:pt idx="15">
                  <c:v>9.0748513000000006</c:v>
                </c:pt>
                <c:pt idx="16">
                  <c:v>3.5599511000000001</c:v>
                </c:pt>
                <c:pt idx="17">
                  <c:v>3.7172678000000001</c:v>
                </c:pt>
                <c:pt idx="18">
                  <c:v>1.292618</c:v>
                </c:pt>
                <c:pt idx="19">
                  <c:v>0.80774000000000001</c:v>
                </c:pt>
                <c:pt idx="20">
                  <c:v>0.64607510000000001</c:v>
                </c:pt>
                <c:pt idx="21">
                  <c:v>1.6148853000000001</c:v>
                </c:pt>
                <c:pt idx="22">
                  <c:v>2.2602883</c:v>
                </c:pt>
                <c:pt idx="23">
                  <c:v>1.6140721</c:v>
                </c:pt>
                <c:pt idx="24">
                  <c:v>2.0977486000000001</c:v>
                </c:pt>
                <c:pt idx="25">
                  <c:v>1.6132336</c:v>
                </c:pt>
                <c:pt idx="26">
                  <c:v>1.4515823999999999</c:v>
                </c:pt>
                <c:pt idx="27">
                  <c:v>2.7415153999999999</c:v>
                </c:pt>
                <c:pt idx="28">
                  <c:v>3.0636415000000001</c:v>
                </c:pt>
                <c:pt idx="29">
                  <c:v>4.0305808000000001</c:v>
                </c:pt>
                <c:pt idx="30">
                  <c:v>4.0298335999999999</c:v>
                </c:pt>
                <c:pt idx="31">
                  <c:v>4.9951980999999996</c:v>
                </c:pt>
                <c:pt idx="32">
                  <c:v>8.0537215</c:v>
                </c:pt>
                <c:pt idx="33">
                  <c:v>5.6354809000000001</c:v>
                </c:pt>
                <c:pt idx="34">
                  <c:v>5.3113410999999999</c:v>
                </c:pt>
                <c:pt idx="35">
                  <c:v>14.952032900000001</c:v>
                </c:pt>
                <c:pt idx="36">
                  <c:v>29.219955599999999</c:v>
                </c:pt>
                <c:pt idx="37">
                  <c:v>45.852953100000001</c:v>
                </c:pt>
                <c:pt idx="38">
                  <c:v>47.389874499999998</c:v>
                </c:pt>
                <c:pt idx="39">
                  <c:v>99.105176099999994</c:v>
                </c:pt>
                <c:pt idx="40">
                  <c:v>174.7757842</c:v>
                </c:pt>
                <c:pt idx="41">
                  <c:v>317.17342689999998</c:v>
                </c:pt>
                <c:pt idx="42">
                  <c:v>416.6673298</c:v>
                </c:pt>
                <c:pt idx="43">
                  <c:v>340.63213949999999</c:v>
                </c:pt>
                <c:pt idx="44">
                  <c:v>252.63597780000001</c:v>
                </c:pt>
                <c:pt idx="45">
                  <c:v>167.12415590000001</c:v>
                </c:pt>
                <c:pt idx="46">
                  <c:v>136.3112419</c:v>
                </c:pt>
                <c:pt idx="47">
                  <c:v>108.0818982</c:v>
                </c:pt>
                <c:pt idx="48">
                  <c:v>124.0785685</c:v>
                </c:pt>
                <c:pt idx="49">
                  <c:v>138.5377503</c:v>
                </c:pt>
                <c:pt idx="50">
                  <c:v>164.8667805</c:v>
                </c:pt>
                <c:pt idx="51">
                  <c:v>181.47219899999999</c:v>
                </c:pt>
                <c:pt idx="52">
                  <c:v>313.0118878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87-4662-BB8A-7C8E4F3CFE2C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219.35549639999999</c:v>
                </c:pt>
                <c:pt idx="1">
                  <c:v>178.507124</c:v>
                </c:pt>
                <c:pt idx="2">
                  <c:v>139.44359650000001</c:v>
                </c:pt>
                <c:pt idx="3">
                  <c:v>125.92023090000001</c:v>
                </c:pt>
                <c:pt idx="4">
                  <c:v>104.0073795</c:v>
                </c:pt>
                <c:pt idx="5">
                  <c:v>101.1344716</c:v>
                </c:pt>
                <c:pt idx="6">
                  <c:v>98.105616100000006</c:v>
                </c:pt>
                <c:pt idx="7">
                  <c:v>110.7366468</c:v>
                </c:pt>
                <c:pt idx="8">
                  <c:v>132.2121166</c:v>
                </c:pt>
                <c:pt idx="9">
                  <c:v>111.02031700000001</c:v>
                </c:pt>
                <c:pt idx="10">
                  <c:v>96.171268400000002</c:v>
                </c:pt>
                <c:pt idx="11">
                  <c:v>64.963288000000006</c:v>
                </c:pt>
                <c:pt idx="12">
                  <c:v>52.833546499999997</c:v>
                </c:pt>
                <c:pt idx="13">
                  <c:v>27.2900095</c:v>
                </c:pt>
                <c:pt idx="14">
                  <c:v>27.221597599999999</c:v>
                </c:pt>
                <c:pt idx="15">
                  <c:v>19.9432996</c:v>
                </c:pt>
                <c:pt idx="16">
                  <c:v>12.0891783</c:v>
                </c:pt>
                <c:pt idx="17">
                  <c:v>13.289016200000001</c:v>
                </c:pt>
                <c:pt idx="18">
                  <c:v>10.2374163</c:v>
                </c:pt>
                <c:pt idx="19">
                  <c:v>6.7263785</c:v>
                </c:pt>
                <c:pt idx="20">
                  <c:v>3.2118931000000002</c:v>
                </c:pt>
                <c:pt idx="21">
                  <c:v>1.3771679999999999</c:v>
                </c:pt>
                <c:pt idx="22">
                  <c:v>1.5304982</c:v>
                </c:pt>
                <c:pt idx="23">
                  <c:v>0.45920850000000002</c:v>
                </c:pt>
                <c:pt idx="24">
                  <c:v>1.0716243000000001</c:v>
                </c:pt>
                <c:pt idx="25">
                  <c:v>0.91865319999999995</c:v>
                </c:pt>
                <c:pt idx="26">
                  <c:v>0.45920490000000003</c:v>
                </c:pt>
                <c:pt idx="27">
                  <c:v>2.2946480999999999</c:v>
                </c:pt>
                <c:pt idx="28">
                  <c:v>2.9048389999999999</c:v>
                </c:pt>
                <c:pt idx="29">
                  <c:v>2.2919238000000002</c:v>
                </c:pt>
                <c:pt idx="30">
                  <c:v>2.1385995000000002</c:v>
                </c:pt>
                <c:pt idx="31">
                  <c:v>1.9878496000000001</c:v>
                </c:pt>
                <c:pt idx="32">
                  <c:v>2.1431436000000001</c:v>
                </c:pt>
                <c:pt idx="33">
                  <c:v>2.4520320999999998</c:v>
                </c:pt>
                <c:pt idx="34">
                  <c:v>1.3807852</c:v>
                </c:pt>
                <c:pt idx="35">
                  <c:v>3.9912499000000001</c:v>
                </c:pt>
                <c:pt idx="36">
                  <c:v>2.7641065</c:v>
                </c:pt>
                <c:pt idx="37">
                  <c:v>6.6053850000000001</c:v>
                </c:pt>
                <c:pt idx="38">
                  <c:v>5.5319592999999996</c:v>
                </c:pt>
                <c:pt idx="39">
                  <c:v>9.9936039999999995</c:v>
                </c:pt>
                <c:pt idx="40">
                  <c:v>15.8471046</c:v>
                </c:pt>
                <c:pt idx="41">
                  <c:v>29.406738300000001</c:v>
                </c:pt>
                <c:pt idx="42">
                  <c:v>55.927119099999999</c:v>
                </c:pt>
                <c:pt idx="43">
                  <c:v>87.569859300000005</c:v>
                </c:pt>
                <c:pt idx="44">
                  <c:v>112.2980216</c:v>
                </c:pt>
                <c:pt idx="45">
                  <c:v>139.3641107</c:v>
                </c:pt>
                <c:pt idx="46">
                  <c:v>181.1278101</c:v>
                </c:pt>
                <c:pt idx="47">
                  <c:v>171.3347268</c:v>
                </c:pt>
                <c:pt idx="48">
                  <c:v>140.03848730000001</c:v>
                </c:pt>
                <c:pt idx="49">
                  <c:v>107.46336959999999</c:v>
                </c:pt>
                <c:pt idx="50">
                  <c:v>78.422637600000002</c:v>
                </c:pt>
                <c:pt idx="51">
                  <c:v>51.991136699999998</c:v>
                </c:pt>
                <c:pt idx="52">
                  <c:v>71.50440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87-4662-BB8A-7C8E4F3CFE2C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7D87-4662-BB8A-7C8E4F3CFE2C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62.794007700000002</c:v>
                </c:pt>
                <c:pt idx="1">
                  <c:v>72.00734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D87-4662-BB8A-7C8E4F3CFE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41</c:f>
              <c:numCache>
                <c:formatCode>m/d/yyyy</c:formatCode>
                <c:ptCount val="207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  <c:pt idx="187">
                  <c:v>44556</c:v>
                </c:pt>
                <c:pt idx="188">
                  <c:v>44557</c:v>
                </c:pt>
                <c:pt idx="189">
                  <c:v>44558</c:v>
                </c:pt>
                <c:pt idx="190">
                  <c:v>44559</c:v>
                </c:pt>
                <c:pt idx="191">
                  <c:v>44560</c:v>
                </c:pt>
                <c:pt idx="192">
                  <c:v>44561</c:v>
                </c:pt>
                <c:pt idx="193">
                  <c:v>44562</c:v>
                </c:pt>
                <c:pt idx="194">
                  <c:v>44563</c:v>
                </c:pt>
                <c:pt idx="195">
                  <c:v>44564</c:v>
                </c:pt>
                <c:pt idx="196">
                  <c:v>44565</c:v>
                </c:pt>
                <c:pt idx="197">
                  <c:v>44566</c:v>
                </c:pt>
                <c:pt idx="198">
                  <c:v>44567</c:v>
                </c:pt>
                <c:pt idx="199">
                  <c:v>44568</c:v>
                </c:pt>
                <c:pt idx="200">
                  <c:v>44569</c:v>
                </c:pt>
                <c:pt idx="201">
                  <c:v>44570</c:v>
                </c:pt>
                <c:pt idx="202">
                  <c:v>44571</c:v>
                </c:pt>
                <c:pt idx="203">
                  <c:v>44572</c:v>
                </c:pt>
                <c:pt idx="204">
                  <c:v>44573</c:v>
                </c:pt>
                <c:pt idx="205">
                  <c:v>44574</c:v>
                </c:pt>
                <c:pt idx="206">
                  <c:v>44575</c:v>
                </c:pt>
              </c:numCache>
            </c:numRef>
          </c:cat>
          <c:val>
            <c:numRef>
              <c:f>Sheet1!$B$135:$B$341</c:f>
              <c:numCache>
                <c:formatCode>General</c:formatCode>
                <c:ptCount val="207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4</c:v>
                </c:pt>
                <c:pt idx="6">
                  <c:v>3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3</c:v>
                </c:pt>
                <c:pt idx="11">
                  <c:v>2</c:v>
                </c:pt>
                <c:pt idx="12">
                  <c:v>4</c:v>
                </c:pt>
                <c:pt idx="13">
                  <c:v>2</c:v>
                </c:pt>
                <c:pt idx="14">
                  <c:v>4</c:v>
                </c:pt>
                <c:pt idx="15">
                  <c:v>1</c:v>
                </c:pt>
                <c:pt idx="16">
                  <c:v>1</c:v>
                </c:pt>
                <c:pt idx="17">
                  <c:v>4</c:v>
                </c:pt>
                <c:pt idx="18">
                  <c:v>7</c:v>
                </c:pt>
                <c:pt idx="19">
                  <c:v>1</c:v>
                </c:pt>
                <c:pt idx="20">
                  <c:v>7</c:v>
                </c:pt>
                <c:pt idx="21">
                  <c:v>4</c:v>
                </c:pt>
                <c:pt idx="22">
                  <c:v>7</c:v>
                </c:pt>
                <c:pt idx="23">
                  <c:v>5</c:v>
                </c:pt>
                <c:pt idx="24">
                  <c:v>8</c:v>
                </c:pt>
                <c:pt idx="25">
                  <c:v>3</c:v>
                </c:pt>
                <c:pt idx="26">
                  <c:v>4</c:v>
                </c:pt>
                <c:pt idx="27">
                  <c:v>11</c:v>
                </c:pt>
                <c:pt idx="28">
                  <c:v>8</c:v>
                </c:pt>
                <c:pt idx="29">
                  <c:v>7</c:v>
                </c:pt>
                <c:pt idx="30">
                  <c:v>7</c:v>
                </c:pt>
                <c:pt idx="31">
                  <c:v>6</c:v>
                </c:pt>
                <c:pt idx="32">
                  <c:v>1</c:v>
                </c:pt>
                <c:pt idx="33">
                  <c:v>4</c:v>
                </c:pt>
                <c:pt idx="34">
                  <c:v>9</c:v>
                </c:pt>
                <c:pt idx="35">
                  <c:v>5</c:v>
                </c:pt>
                <c:pt idx="36">
                  <c:v>2</c:v>
                </c:pt>
                <c:pt idx="37">
                  <c:v>8</c:v>
                </c:pt>
                <c:pt idx="38">
                  <c:v>4</c:v>
                </c:pt>
                <c:pt idx="39">
                  <c:v>2</c:v>
                </c:pt>
                <c:pt idx="40">
                  <c:v>1</c:v>
                </c:pt>
                <c:pt idx="41">
                  <c:v>2</c:v>
                </c:pt>
                <c:pt idx="42">
                  <c:v>6</c:v>
                </c:pt>
                <c:pt idx="43">
                  <c:v>11</c:v>
                </c:pt>
                <c:pt idx="44">
                  <c:v>3</c:v>
                </c:pt>
                <c:pt idx="45">
                  <c:v>6</c:v>
                </c:pt>
                <c:pt idx="46">
                  <c:v>1</c:v>
                </c:pt>
                <c:pt idx="47">
                  <c:v>3</c:v>
                </c:pt>
                <c:pt idx="48">
                  <c:v>12</c:v>
                </c:pt>
                <c:pt idx="49">
                  <c:v>3</c:v>
                </c:pt>
                <c:pt idx="50">
                  <c:v>7</c:v>
                </c:pt>
                <c:pt idx="51">
                  <c:v>4</c:v>
                </c:pt>
                <c:pt idx="52">
                  <c:v>10</c:v>
                </c:pt>
                <c:pt idx="53">
                  <c:v>5</c:v>
                </c:pt>
                <c:pt idx="54">
                  <c:v>2</c:v>
                </c:pt>
                <c:pt idx="55">
                  <c:v>7</c:v>
                </c:pt>
                <c:pt idx="56">
                  <c:v>4</c:v>
                </c:pt>
                <c:pt idx="57">
                  <c:v>3</c:v>
                </c:pt>
                <c:pt idx="58">
                  <c:v>3</c:v>
                </c:pt>
                <c:pt idx="59">
                  <c:v>4</c:v>
                </c:pt>
                <c:pt idx="60">
                  <c:v>2</c:v>
                </c:pt>
                <c:pt idx="61">
                  <c:v>3</c:v>
                </c:pt>
                <c:pt idx="62">
                  <c:v>8</c:v>
                </c:pt>
                <c:pt idx="63">
                  <c:v>5</c:v>
                </c:pt>
                <c:pt idx="64">
                  <c:v>6</c:v>
                </c:pt>
                <c:pt idx="65">
                  <c:v>5</c:v>
                </c:pt>
                <c:pt idx="66">
                  <c:v>4</c:v>
                </c:pt>
                <c:pt idx="67">
                  <c:v>3</c:v>
                </c:pt>
                <c:pt idx="68">
                  <c:v>2</c:v>
                </c:pt>
                <c:pt idx="69">
                  <c:v>1</c:v>
                </c:pt>
                <c:pt idx="70">
                  <c:v>7</c:v>
                </c:pt>
                <c:pt idx="71">
                  <c:v>7</c:v>
                </c:pt>
                <c:pt idx="72">
                  <c:v>12</c:v>
                </c:pt>
                <c:pt idx="73">
                  <c:v>13</c:v>
                </c:pt>
                <c:pt idx="74">
                  <c:v>9</c:v>
                </c:pt>
                <c:pt idx="75">
                  <c:v>3</c:v>
                </c:pt>
                <c:pt idx="76">
                  <c:v>7</c:v>
                </c:pt>
                <c:pt idx="77">
                  <c:v>12</c:v>
                </c:pt>
                <c:pt idx="78">
                  <c:v>2</c:v>
                </c:pt>
                <c:pt idx="79">
                  <c:v>7</c:v>
                </c:pt>
                <c:pt idx="80">
                  <c:v>5</c:v>
                </c:pt>
                <c:pt idx="81">
                  <c:v>4</c:v>
                </c:pt>
                <c:pt idx="82">
                  <c:v>5</c:v>
                </c:pt>
                <c:pt idx="83">
                  <c:v>9</c:v>
                </c:pt>
                <c:pt idx="84">
                  <c:v>10</c:v>
                </c:pt>
                <c:pt idx="85">
                  <c:v>8</c:v>
                </c:pt>
                <c:pt idx="86">
                  <c:v>16</c:v>
                </c:pt>
                <c:pt idx="87">
                  <c:v>12</c:v>
                </c:pt>
                <c:pt idx="88">
                  <c:v>5</c:v>
                </c:pt>
                <c:pt idx="89">
                  <c:v>9</c:v>
                </c:pt>
                <c:pt idx="90">
                  <c:v>18</c:v>
                </c:pt>
                <c:pt idx="91">
                  <c:v>19</c:v>
                </c:pt>
                <c:pt idx="92">
                  <c:v>17</c:v>
                </c:pt>
                <c:pt idx="93">
                  <c:v>14</c:v>
                </c:pt>
                <c:pt idx="94">
                  <c:v>15</c:v>
                </c:pt>
                <c:pt idx="95">
                  <c:v>10</c:v>
                </c:pt>
                <c:pt idx="96">
                  <c:v>10</c:v>
                </c:pt>
                <c:pt idx="97">
                  <c:v>18</c:v>
                </c:pt>
                <c:pt idx="98">
                  <c:v>19</c:v>
                </c:pt>
                <c:pt idx="99">
                  <c:v>24</c:v>
                </c:pt>
                <c:pt idx="100">
                  <c:v>37</c:v>
                </c:pt>
                <c:pt idx="101">
                  <c:v>21</c:v>
                </c:pt>
                <c:pt idx="102">
                  <c:v>14</c:v>
                </c:pt>
                <c:pt idx="103">
                  <c:v>16</c:v>
                </c:pt>
                <c:pt idx="104">
                  <c:v>20</c:v>
                </c:pt>
                <c:pt idx="105">
                  <c:v>28</c:v>
                </c:pt>
                <c:pt idx="106">
                  <c:v>27</c:v>
                </c:pt>
                <c:pt idx="107">
                  <c:v>30</c:v>
                </c:pt>
                <c:pt idx="108">
                  <c:v>25</c:v>
                </c:pt>
                <c:pt idx="109">
                  <c:v>14</c:v>
                </c:pt>
                <c:pt idx="110">
                  <c:v>10</c:v>
                </c:pt>
                <c:pt idx="111">
                  <c:v>40</c:v>
                </c:pt>
                <c:pt idx="112">
                  <c:v>60</c:v>
                </c:pt>
                <c:pt idx="113">
                  <c:v>47</c:v>
                </c:pt>
                <c:pt idx="114">
                  <c:v>47</c:v>
                </c:pt>
                <c:pt idx="115">
                  <c:v>37</c:v>
                </c:pt>
                <c:pt idx="116">
                  <c:v>24</c:v>
                </c:pt>
                <c:pt idx="117">
                  <c:v>31</c:v>
                </c:pt>
                <c:pt idx="118">
                  <c:v>91</c:v>
                </c:pt>
                <c:pt idx="119">
                  <c:v>101</c:v>
                </c:pt>
                <c:pt idx="120">
                  <c:v>89</c:v>
                </c:pt>
                <c:pt idx="121">
                  <c:v>120</c:v>
                </c:pt>
                <c:pt idx="122">
                  <c:v>106</c:v>
                </c:pt>
                <c:pt idx="123">
                  <c:v>77</c:v>
                </c:pt>
                <c:pt idx="124">
                  <c:v>45</c:v>
                </c:pt>
                <c:pt idx="125">
                  <c:v>174</c:v>
                </c:pt>
                <c:pt idx="126">
                  <c:v>175</c:v>
                </c:pt>
                <c:pt idx="127">
                  <c:v>165</c:v>
                </c:pt>
                <c:pt idx="128">
                  <c:v>98</c:v>
                </c:pt>
                <c:pt idx="129">
                  <c:v>203</c:v>
                </c:pt>
                <c:pt idx="130">
                  <c:v>140</c:v>
                </c:pt>
                <c:pt idx="131">
                  <c:v>97</c:v>
                </c:pt>
                <c:pt idx="132">
                  <c:v>304</c:v>
                </c:pt>
                <c:pt idx="133">
                  <c:v>271</c:v>
                </c:pt>
                <c:pt idx="134">
                  <c:v>263</c:v>
                </c:pt>
                <c:pt idx="135">
                  <c:v>245</c:v>
                </c:pt>
                <c:pt idx="136">
                  <c:v>286</c:v>
                </c:pt>
                <c:pt idx="137">
                  <c:v>159</c:v>
                </c:pt>
                <c:pt idx="138">
                  <c:v>86</c:v>
                </c:pt>
                <c:pt idx="139">
                  <c:v>316</c:v>
                </c:pt>
                <c:pt idx="140">
                  <c:v>343</c:v>
                </c:pt>
                <c:pt idx="141">
                  <c:v>359</c:v>
                </c:pt>
                <c:pt idx="142">
                  <c:v>267</c:v>
                </c:pt>
                <c:pt idx="143">
                  <c:v>376</c:v>
                </c:pt>
                <c:pt idx="144">
                  <c:v>244</c:v>
                </c:pt>
                <c:pt idx="145">
                  <c:v>130</c:v>
                </c:pt>
                <c:pt idx="146">
                  <c:v>391</c:v>
                </c:pt>
                <c:pt idx="147">
                  <c:v>492</c:v>
                </c:pt>
                <c:pt idx="148">
                  <c:v>309</c:v>
                </c:pt>
                <c:pt idx="149">
                  <c:v>391</c:v>
                </c:pt>
                <c:pt idx="150">
                  <c:v>577</c:v>
                </c:pt>
                <c:pt idx="151">
                  <c:v>329</c:v>
                </c:pt>
                <c:pt idx="152">
                  <c:v>206</c:v>
                </c:pt>
                <c:pt idx="153">
                  <c:v>460</c:v>
                </c:pt>
                <c:pt idx="154">
                  <c:v>548</c:v>
                </c:pt>
                <c:pt idx="155">
                  <c:v>369</c:v>
                </c:pt>
                <c:pt idx="156">
                  <c:v>547</c:v>
                </c:pt>
                <c:pt idx="157">
                  <c:v>403</c:v>
                </c:pt>
                <c:pt idx="158">
                  <c:v>259</c:v>
                </c:pt>
                <c:pt idx="159">
                  <c:v>203</c:v>
                </c:pt>
                <c:pt idx="160">
                  <c:v>474</c:v>
                </c:pt>
                <c:pt idx="161">
                  <c:v>409</c:v>
                </c:pt>
                <c:pt idx="162">
                  <c:v>403</c:v>
                </c:pt>
                <c:pt idx="163">
                  <c:v>320</c:v>
                </c:pt>
                <c:pt idx="164">
                  <c:v>359</c:v>
                </c:pt>
                <c:pt idx="165">
                  <c:v>213</c:v>
                </c:pt>
                <c:pt idx="166">
                  <c:v>148</c:v>
                </c:pt>
                <c:pt idx="167">
                  <c:v>413</c:v>
                </c:pt>
                <c:pt idx="168">
                  <c:v>366</c:v>
                </c:pt>
                <c:pt idx="169">
                  <c:v>293</c:v>
                </c:pt>
                <c:pt idx="170">
                  <c:v>276</c:v>
                </c:pt>
                <c:pt idx="171">
                  <c:v>245</c:v>
                </c:pt>
                <c:pt idx="172">
                  <c:v>173</c:v>
                </c:pt>
                <c:pt idx="173">
                  <c:v>133</c:v>
                </c:pt>
                <c:pt idx="174">
                  <c:v>255</c:v>
                </c:pt>
                <c:pt idx="175">
                  <c:v>322</c:v>
                </c:pt>
                <c:pt idx="176">
                  <c:v>208</c:v>
                </c:pt>
                <c:pt idx="177">
                  <c:v>171</c:v>
                </c:pt>
                <c:pt idx="178">
                  <c:v>203</c:v>
                </c:pt>
                <c:pt idx="179">
                  <c:v>133</c:v>
                </c:pt>
                <c:pt idx="180">
                  <c:v>90</c:v>
                </c:pt>
                <c:pt idx="181">
                  <c:v>223</c:v>
                </c:pt>
                <c:pt idx="182">
                  <c:v>211</c:v>
                </c:pt>
                <c:pt idx="183">
                  <c:v>118</c:v>
                </c:pt>
                <c:pt idx="184">
                  <c:v>159</c:v>
                </c:pt>
                <c:pt idx="185">
                  <c:v>48</c:v>
                </c:pt>
                <c:pt idx="186">
                  <c:v>44</c:v>
                </c:pt>
                <c:pt idx="187">
                  <c:v>48</c:v>
                </c:pt>
                <c:pt idx="188">
                  <c:v>171</c:v>
                </c:pt>
                <c:pt idx="189">
                  <c:v>220</c:v>
                </c:pt>
                <c:pt idx="190">
                  <c:v>150</c:v>
                </c:pt>
                <c:pt idx="191">
                  <c:v>142</c:v>
                </c:pt>
                <c:pt idx="192">
                  <c:v>149</c:v>
                </c:pt>
                <c:pt idx="193">
                  <c:v>34</c:v>
                </c:pt>
                <c:pt idx="194">
                  <c:v>90</c:v>
                </c:pt>
                <c:pt idx="195">
                  <c:v>239</c:v>
                </c:pt>
                <c:pt idx="196">
                  <c:v>207</c:v>
                </c:pt>
                <c:pt idx="197">
                  <c:v>161</c:v>
                </c:pt>
                <c:pt idx="198">
                  <c:v>163</c:v>
                </c:pt>
                <c:pt idx="199">
                  <c:v>163</c:v>
                </c:pt>
                <c:pt idx="200">
                  <c:v>90</c:v>
                </c:pt>
                <c:pt idx="201">
                  <c:v>75</c:v>
                </c:pt>
                <c:pt idx="202">
                  <c:v>193</c:v>
                </c:pt>
                <c:pt idx="203">
                  <c:v>272</c:v>
                </c:pt>
                <c:pt idx="204">
                  <c:v>297</c:v>
                </c:pt>
                <c:pt idx="205">
                  <c:v>228</c:v>
                </c:pt>
                <c:pt idx="206">
                  <c:v>2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9F-460A-A36A-554DEDA2A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5679636904293355"/>
          <c:h val="0.81486627194877481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9</c:f>
              <c:numCache>
                <c:formatCode>m/d/yyyy</c:formatCode>
                <c:ptCount val="34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</c:numCache>
            </c:numRef>
          </c:cat>
          <c:val>
            <c:numRef>
              <c:f>List1!$B$2:$B$349</c:f>
              <c:numCache>
                <c:formatCode>General</c:formatCode>
                <c:ptCount val="348"/>
                <c:pt idx="0">
                  <c:v>81.159190783482998</c:v>
                </c:pt>
                <c:pt idx="1">
                  <c:v>64.303512579374001</c:v>
                </c:pt>
                <c:pt idx="2">
                  <c:v>55.003259452411001</c:v>
                </c:pt>
                <c:pt idx="3">
                  <c:v>78.186082877247003</c:v>
                </c:pt>
                <c:pt idx="4">
                  <c:v>53.769000103400998</c:v>
                </c:pt>
                <c:pt idx="5">
                  <c:v>35.35626637827</c:v>
                </c:pt>
                <c:pt idx="6">
                  <c:v>33.474203941587</c:v>
                </c:pt>
                <c:pt idx="7">
                  <c:v>42.699459851832003</c:v>
                </c:pt>
                <c:pt idx="8">
                  <c:v>50.383351588170001</c:v>
                </c:pt>
                <c:pt idx="9">
                  <c:v>69.658225288181995</c:v>
                </c:pt>
                <c:pt idx="10">
                  <c:v>62.517365934981001</c:v>
                </c:pt>
                <c:pt idx="11">
                  <c:v>64.780824875836004</c:v>
                </c:pt>
                <c:pt idx="12">
                  <c:v>28.942861966667</c:v>
                </c:pt>
                <c:pt idx="13">
                  <c:v>19.386419812921002</c:v>
                </c:pt>
                <c:pt idx="14">
                  <c:v>60.204695966285001</c:v>
                </c:pt>
                <c:pt idx="15">
                  <c:v>89.016887027096999</c:v>
                </c:pt>
                <c:pt idx="16">
                  <c:v>35.404978484666003</c:v>
                </c:pt>
                <c:pt idx="17">
                  <c:v>79.890435973522003</c:v>
                </c:pt>
                <c:pt idx="18">
                  <c:v>68.387250237868003</c:v>
                </c:pt>
                <c:pt idx="19">
                  <c:v>39.005070659185002</c:v>
                </c:pt>
                <c:pt idx="20">
                  <c:v>24.155318699235998</c:v>
                </c:pt>
                <c:pt idx="21">
                  <c:v>104.114083796062</c:v>
                </c:pt>
                <c:pt idx="22">
                  <c:v>98.106543706465004</c:v>
                </c:pt>
                <c:pt idx="23">
                  <c:v>77.802584398890005</c:v>
                </c:pt>
                <c:pt idx="24">
                  <c:v>115.396719935657</c:v>
                </c:pt>
                <c:pt idx="25">
                  <c:v>136.90240299744201</c:v>
                </c:pt>
                <c:pt idx="26">
                  <c:v>76.042873696407</c:v>
                </c:pt>
                <c:pt idx="27">
                  <c:v>58.019363962721997</c:v>
                </c:pt>
                <c:pt idx="28">
                  <c:v>103.950103950103</c:v>
                </c:pt>
                <c:pt idx="29">
                  <c:v>155.073943795151</c:v>
                </c:pt>
                <c:pt idx="30">
                  <c:v>122.62885610270099</c:v>
                </c:pt>
                <c:pt idx="31">
                  <c:v>69.959967352014999</c:v>
                </c:pt>
                <c:pt idx="32">
                  <c:v>90.611826813221001</c:v>
                </c:pt>
                <c:pt idx="33">
                  <c:v>31.564411126454001</c:v>
                </c:pt>
                <c:pt idx="34">
                  <c:v>31.616804331501999</c:v>
                </c:pt>
                <c:pt idx="35">
                  <c:v>79.798906754976997</c:v>
                </c:pt>
                <c:pt idx="36">
                  <c:v>68.703524086646993</c:v>
                </c:pt>
                <c:pt idx="37">
                  <c:v>77.522542739401004</c:v>
                </c:pt>
                <c:pt idx="38">
                  <c:v>24.697456162015001</c:v>
                </c:pt>
                <c:pt idx="39">
                  <c:v>70.771408351025997</c:v>
                </c:pt>
                <c:pt idx="40">
                  <c:v>37.490627343164</c:v>
                </c:pt>
                <c:pt idx="41">
                  <c:v>16.672919011295001</c:v>
                </c:pt>
                <c:pt idx="42">
                  <c:v>88.094638811980005</c:v>
                </c:pt>
                <c:pt idx="43">
                  <c:v>109.77411864048899</c:v>
                </c:pt>
                <c:pt idx="44">
                  <c:v>29.740408718188</c:v>
                </c:pt>
                <c:pt idx="45">
                  <c:v>42.744176106005</c:v>
                </c:pt>
                <c:pt idx="46">
                  <c:v>38.886968544763</c:v>
                </c:pt>
                <c:pt idx="47">
                  <c:v>21.612275772638</c:v>
                </c:pt>
                <c:pt idx="48">
                  <c:v>21.618817018331999</c:v>
                </c:pt>
                <c:pt idx="49">
                  <c:v>30.51571559353</c:v>
                </c:pt>
                <c:pt idx="50">
                  <c:v>65.835674157303004</c:v>
                </c:pt>
                <c:pt idx="51">
                  <c:v>26.538104294749001</c:v>
                </c:pt>
                <c:pt idx="52">
                  <c:v>35.757386135072998</c:v>
                </c:pt>
                <c:pt idx="53">
                  <c:v>36.217121644256999</c:v>
                </c:pt>
                <c:pt idx="54">
                  <c:v>40.829288209407999</c:v>
                </c:pt>
                <c:pt idx="55">
                  <c:v>4.5522829699090002</c:v>
                </c:pt>
                <c:pt idx="56">
                  <c:v>59.993539157321003</c:v>
                </c:pt>
                <c:pt idx="57">
                  <c:v>51.51259717149</c:v>
                </c:pt>
                <c:pt idx="58">
                  <c:v>23.772167546235998</c:v>
                </c:pt>
                <c:pt idx="59">
                  <c:v>28.975708697540998</c:v>
                </c:pt>
                <c:pt idx="60">
                  <c:v>19.756989034871001</c:v>
                </c:pt>
                <c:pt idx="61">
                  <c:v>14.849279809929</c:v>
                </c:pt>
                <c:pt idx="62">
                  <c:v>19.831432821021</c:v>
                </c:pt>
                <c:pt idx="63">
                  <c:v>25.155966995370999</c:v>
                </c:pt>
                <c:pt idx="64">
                  <c:v>46.009917693368998</c:v>
                </c:pt>
                <c:pt idx="65">
                  <c:v>10.43242397371</c:v>
                </c:pt>
                <c:pt idx="66">
                  <c:v>5.3225463061519998</c:v>
                </c:pt>
                <c:pt idx="67">
                  <c:v>10.916434692429</c:v>
                </c:pt>
                <c:pt idx="68">
                  <c:v>10.961907371882001</c:v>
                </c:pt>
                <c:pt idx="69">
                  <c:v>5.4963174672959996</c:v>
                </c:pt>
                <c:pt idx="70">
                  <c:v>16.760712888987999</c:v>
                </c:pt>
                <c:pt idx="71">
                  <c:v>11.387576154414999</c:v>
                </c:pt>
                <c:pt idx="72">
                  <c:v>52.158794552303</c:v>
                </c:pt>
                <c:pt idx="73">
                  <c:v>17.760937777513998</c:v>
                </c:pt>
                <c:pt idx="74">
                  <c:v>17.862459065197001</c:v>
                </c:pt>
                <c:pt idx="75">
                  <c:v>5.990176111177</c:v>
                </c:pt>
                <c:pt idx="76">
                  <c:v>12.017064231208</c:v>
                </c:pt>
                <c:pt idx="77">
                  <c:v>36.120642947443997</c:v>
                </c:pt>
                <c:pt idx="78">
                  <c:v>24.536866642128999</c:v>
                </c:pt>
                <c:pt idx="79">
                  <c:v>31.111940762863998</c:v>
                </c:pt>
                <c:pt idx="80">
                  <c:v>6.3303158827620001</c:v>
                </c:pt>
                <c:pt idx="81">
                  <c:v>19.311232700354001</c:v>
                </c:pt>
                <c:pt idx="82">
                  <c:v>6.4775229952059998</c:v>
                </c:pt>
                <c:pt idx="83">
                  <c:v>6.4989926561380003</c:v>
                </c:pt>
                <c:pt idx="84">
                  <c:v>13.139741147099</c:v>
                </c:pt>
                <c:pt idx="85">
                  <c:v>6.6401062416989998</c:v>
                </c:pt>
                <c:pt idx="86">
                  <c:v>40.333422963162</c:v>
                </c:pt>
                <c:pt idx="87">
                  <c:v>13.603591348115</c:v>
                </c:pt>
                <c:pt idx="88">
                  <c:v>20.678246484698001</c:v>
                </c:pt>
                <c:pt idx="89">
                  <c:v>6.9070313579220004</c:v>
                </c:pt>
                <c:pt idx="90">
                  <c:v>0</c:v>
                </c:pt>
                <c:pt idx="91">
                  <c:v>6.9652434352580004</c:v>
                </c:pt>
                <c:pt idx="92">
                  <c:v>7.0200070200070002</c:v>
                </c:pt>
                <c:pt idx="93">
                  <c:v>7.0596540769500002</c:v>
                </c:pt>
                <c:pt idx="94">
                  <c:v>0</c:v>
                </c:pt>
                <c:pt idx="95">
                  <c:v>0</c:v>
                </c:pt>
                <c:pt idx="96">
                  <c:v>7.173601147776</c:v>
                </c:pt>
                <c:pt idx="97">
                  <c:v>7.1823601235360002</c:v>
                </c:pt>
                <c:pt idx="98">
                  <c:v>0</c:v>
                </c:pt>
                <c:pt idx="99">
                  <c:v>14.442518775273999</c:v>
                </c:pt>
                <c:pt idx="100">
                  <c:v>0</c:v>
                </c:pt>
                <c:pt idx="101">
                  <c:v>14.582573824279001</c:v>
                </c:pt>
                <c:pt idx="102">
                  <c:v>14.663831659212001</c:v>
                </c:pt>
                <c:pt idx="103">
                  <c:v>7.3383723490120003</c:v>
                </c:pt>
                <c:pt idx="104">
                  <c:v>0</c:v>
                </c:pt>
                <c:pt idx="105">
                  <c:v>14.739479696366001</c:v>
                </c:pt>
                <c:pt idx="106">
                  <c:v>14.781966001478001</c:v>
                </c:pt>
                <c:pt idx="107">
                  <c:v>22.228808535862001</c:v>
                </c:pt>
                <c:pt idx="108">
                  <c:v>7.4288685833140002</c:v>
                </c:pt>
                <c:pt idx="109">
                  <c:v>7.4710496824800003</c:v>
                </c:pt>
                <c:pt idx="110">
                  <c:v>0</c:v>
                </c:pt>
                <c:pt idx="111">
                  <c:v>7.4962518740619997</c:v>
                </c:pt>
                <c:pt idx="112">
                  <c:v>0</c:v>
                </c:pt>
                <c:pt idx="113">
                  <c:v>7.5454614049639996</c:v>
                </c:pt>
                <c:pt idx="114">
                  <c:v>15.138899402012999</c:v>
                </c:pt>
                <c:pt idx="115">
                  <c:v>0</c:v>
                </c:pt>
                <c:pt idx="116">
                  <c:v>15.26135062953</c:v>
                </c:pt>
                <c:pt idx="117">
                  <c:v>0</c:v>
                </c:pt>
                <c:pt idx="118">
                  <c:v>7.6946752847019999</c:v>
                </c:pt>
                <c:pt idx="119">
                  <c:v>0</c:v>
                </c:pt>
                <c:pt idx="120">
                  <c:v>15.635994058322</c:v>
                </c:pt>
                <c:pt idx="121">
                  <c:v>0</c:v>
                </c:pt>
                <c:pt idx="122">
                  <c:v>7.9751176329850004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16.719612104999001</c:v>
                </c:pt>
                <c:pt idx="131">
                  <c:v>0</c:v>
                </c:pt>
                <c:pt idx="132">
                  <c:v>0</c:v>
                </c:pt>
                <c:pt idx="133">
                  <c:v>8.5470085470079997</c:v>
                </c:pt>
                <c:pt idx="135">
                  <c:v>0</c:v>
                </c:pt>
                <c:pt idx="136">
                  <c:v>0</c:v>
                </c:pt>
                <c:pt idx="137">
                  <c:v>8.8121254846659998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0</c:v>
                </c:pt>
                <c:pt idx="151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1">
                  <c:v>0</c:v>
                </c:pt>
                <c:pt idx="162">
                  <c:v>10.03411599438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20.519134092541002</c:v>
                </c:pt>
                <c:pt idx="167">
                  <c:v>0</c:v>
                </c:pt>
                <c:pt idx="168">
                  <c:v>20.529665366454001</c:v>
                </c:pt>
                <c:pt idx="169">
                  <c:v>0</c:v>
                </c:pt>
                <c:pt idx="170">
                  <c:v>10.328444536252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10.475591870940001</c:v>
                </c:pt>
                <c:pt idx="175">
                  <c:v>10.528532322594</c:v>
                </c:pt>
                <c:pt idx="176">
                  <c:v>10.58201058201</c:v>
                </c:pt>
                <c:pt idx="177">
                  <c:v>0</c:v>
                </c:pt>
                <c:pt idx="178">
                  <c:v>21.388086835631999</c:v>
                </c:pt>
                <c:pt idx="179">
                  <c:v>21.516944593866999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43.907793633369003</c:v>
                </c:pt>
                <c:pt idx="185">
                  <c:v>0</c:v>
                </c:pt>
                <c:pt idx="186">
                  <c:v>22.143489813994002</c:v>
                </c:pt>
                <c:pt idx="187">
                  <c:v>0</c:v>
                </c:pt>
                <c:pt idx="188">
                  <c:v>11.095084877399</c:v>
                </c:pt>
                <c:pt idx="189">
                  <c:v>11.138338159946001</c:v>
                </c:pt>
                <c:pt idx="190">
                  <c:v>0</c:v>
                </c:pt>
                <c:pt idx="191">
                  <c:v>22.451728783116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22.760896779332999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11.567379988432</c:v>
                </c:pt>
                <c:pt idx="201">
                  <c:v>0</c:v>
                </c:pt>
                <c:pt idx="202">
                  <c:v>0</c:v>
                </c:pt>
                <c:pt idx="203">
                  <c:v>11.62250116225</c:v>
                </c:pt>
                <c:pt idx="204">
                  <c:v>0</c:v>
                </c:pt>
                <c:pt idx="205">
                  <c:v>0</c:v>
                </c:pt>
                <c:pt idx="206">
                  <c:v>11.75917215428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11.943150603129</c:v>
                </c:pt>
                <c:pt idx="213">
                  <c:v>11.981787682722</c:v>
                </c:pt>
                <c:pt idx="214">
                  <c:v>0</c:v>
                </c:pt>
                <c:pt idx="215">
                  <c:v>12.026458208057001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12.116806009935001</c:v>
                </c:pt>
                <c:pt idx="223">
                  <c:v>0</c:v>
                </c:pt>
                <c:pt idx="224">
                  <c:v>0</c:v>
                </c:pt>
                <c:pt idx="225">
                  <c:v>12.116806009935001</c:v>
                </c:pt>
                <c:pt idx="226">
                  <c:v>0</c:v>
                </c:pt>
                <c:pt idx="227">
                  <c:v>0</c:v>
                </c:pt>
                <c:pt idx="228">
                  <c:v>12.113870381586</c:v>
                </c:pt>
                <c:pt idx="229">
                  <c:v>12.096286440062</c:v>
                </c:pt>
                <c:pt idx="230">
                  <c:v>0</c:v>
                </c:pt>
                <c:pt idx="231">
                  <c:v>0</c:v>
                </c:pt>
                <c:pt idx="232">
                  <c:v>12.065637065637</c:v>
                </c:pt>
                <c:pt idx="233">
                  <c:v>24.137098720733</c:v>
                </c:pt>
                <c:pt idx="234">
                  <c:v>0</c:v>
                </c:pt>
                <c:pt idx="235">
                  <c:v>12.086052695189</c:v>
                </c:pt>
                <c:pt idx="236">
                  <c:v>0</c:v>
                </c:pt>
                <c:pt idx="237">
                  <c:v>12.045290291496</c:v>
                </c:pt>
                <c:pt idx="238">
                  <c:v>24.058703235894999</c:v>
                </c:pt>
                <c:pt idx="239">
                  <c:v>12.023566189731</c:v>
                </c:pt>
                <c:pt idx="240">
                  <c:v>12.014898474107</c:v>
                </c:pt>
                <c:pt idx="241">
                  <c:v>12.025012025012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2.070006035003001</c:v>
                </c:pt>
                <c:pt idx="248">
                  <c:v>12.105072025178</c:v>
                </c:pt>
                <c:pt idx="249">
                  <c:v>12.140342357653999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24.313153415997999</c:v>
                </c:pt>
                <c:pt idx="254">
                  <c:v>12.19363492257</c:v>
                </c:pt>
                <c:pt idx="255">
                  <c:v>36.630036630036003</c:v>
                </c:pt>
                <c:pt idx="256">
                  <c:v>12.233912405187001</c:v>
                </c:pt>
                <c:pt idx="257">
                  <c:v>0</c:v>
                </c:pt>
                <c:pt idx="258">
                  <c:v>24.458847988258999</c:v>
                </c:pt>
                <c:pt idx="259">
                  <c:v>48.947626040137003</c:v>
                </c:pt>
                <c:pt idx="260">
                  <c:v>61.289531747977001</c:v>
                </c:pt>
                <c:pt idx="261">
                  <c:v>24.545900834560001</c:v>
                </c:pt>
                <c:pt idx="262">
                  <c:v>36.891293654697002</c:v>
                </c:pt>
                <c:pt idx="263">
                  <c:v>73.846153846153001</c:v>
                </c:pt>
                <c:pt idx="264">
                  <c:v>73.846153846153001</c:v>
                </c:pt>
                <c:pt idx="265">
                  <c:v>49.224710804823999</c:v>
                </c:pt>
                <c:pt idx="266">
                  <c:v>86.345133834956997</c:v>
                </c:pt>
                <c:pt idx="267">
                  <c:v>37.032465127762002</c:v>
                </c:pt>
                <c:pt idx="268">
                  <c:v>74.110671936757996</c:v>
                </c:pt>
                <c:pt idx="269">
                  <c:v>86.537272839658002</c:v>
                </c:pt>
                <c:pt idx="270">
                  <c:v>99.095751269664007</c:v>
                </c:pt>
                <c:pt idx="271">
                  <c:v>86.751766018092994</c:v>
                </c:pt>
                <c:pt idx="272">
                  <c:v>24.783147459727001</c:v>
                </c:pt>
                <c:pt idx="273">
                  <c:v>161.37040714995001</c:v>
                </c:pt>
                <c:pt idx="274">
                  <c:v>149.049807477332</c:v>
                </c:pt>
                <c:pt idx="275">
                  <c:v>149.290868375217</c:v>
                </c:pt>
                <c:pt idx="276">
                  <c:v>87.270913851139994</c:v>
                </c:pt>
                <c:pt idx="277">
                  <c:v>162.60162601626001</c:v>
                </c:pt>
                <c:pt idx="278">
                  <c:v>37.565740045078002</c:v>
                </c:pt>
                <c:pt idx="279">
                  <c:v>50.100200400801</c:v>
                </c:pt>
                <c:pt idx="280">
                  <c:v>163.19357268390601</c:v>
                </c:pt>
                <c:pt idx="281">
                  <c:v>75.500188750470997</c:v>
                </c:pt>
                <c:pt idx="282">
                  <c:v>151.49602322939</c:v>
                </c:pt>
                <c:pt idx="283">
                  <c:v>176.83465959328001</c:v>
                </c:pt>
                <c:pt idx="284">
                  <c:v>126.550240445456</c:v>
                </c:pt>
                <c:pt idx="285">
                  <c:v>164.66117796073399</c:v>
                </c:pt>
                <c:pt idx="286">
                  <c:v>50.697084917616998</c:v>
                </c:pt>
                <c:pt idx="287">
                  <c:v>254.291163382072</c:v>
                </c:pt>
                <c:pt idx="288">
                  <c:v>280.36192175353602</c:v>
                </c:pt>
                <c:pt idx="289">
                  <c:v>191.57088122605299</c:v>
                </c:pt>
                <c:pt idx="290">
                  <c:v>256.21316935690402</c:v>
                </c:pt>
                <c:pt idx="291">
                  <c:v>411.99948500064301</c:v>
                </c:pt>
                <c:pt idx="292">
                  <c:v>232.138251225174</c:v>
                </c:pt>
                <c:pt idx="293">
                  <c:v>154.95867768594999</c:v>
                </c:pt>
                <c:pt idx="294">
                  <c:v>207.11974110032301</c:v>
                </c:pt>
                <c:pt idx="295">
                  <c:v>207.468879668049</c:v>
                </c:pt>
                <c:pt idx="296">
                  <c:v>142.931392931392</c:v>
                </c:pt>
                <c:pt idx="297">
                  <c:v>326.115314375163</c:v>
                </c:pt>
                <c:pt idx="298">
                  <c:v>196.360780206833</c:v>
                </c:pt>
                <c:pt idx="299">
                  <c:v>65.522212029878006</c:v>
                </c:pt>
                <c:pt idx="300">
                  <c:v>104.90427484919999</c:v>
                </c:pt>
                <c:pt idx="301">
                  <c:v>184.210526315789</c:v>
                </c:pt>
                <c:pt idx="302">
                  <c:v>158.60428231562199</c:v>
                </c:pt>
                <c:pt idx="303">
                  <c:v>158.81418740074099</c:v>
                </c:pt>
                <c:pt idx="304">
                  <c:v>159.36254980079599</c:v>
                </c:pt>
                <c:pt idx="305">
                  <c:v>160.235011349979</c:v>
                </c:pt>
                <c:pt idx="306">
                  <c:v>147.019513499064</c:v>
                </c:pt>
                <c:pt idx="307">
                  <c:v>26.766595289079</c:v>
                </c:pt>
                <c:pt idx="308">
                  <c:v>134.44474321054</c:v>
                </c:pt>
                <c:pt idx="309">
                  <c:v>121.45748987854201</c:v>
                </c:pt>
                <c:pt idx="310">
                  <c:v>67.861020629750001</c:v>
                </c:pt>
                <c:pt idx="311">
                  <c:v>122.86689419795201</c:v>
                </c:pt>
                <c:pt idx="312">
                  <c:v>151.119659293859</c:v>
                </c:pt>
                <c:pt idx="313">
                  <c:v>68.785252441875997</c:v>
                </c:pt>
                <c:pt idx="314">
                  <c:v>55.073661021615997</c:v>
                </c:pt>
                <c:pt idx="315">
                  <c:v>110.52777010223799</c:v>
                </c:pt>
                <c:pt idx="316">
                  <c:v>55.470808487032997</c:v>
                </c:pt>
                <c:pt idx="317">
                  <c:v>111.374077683419</c:v>
                </c:pt>
                <c:pt idx="318">
                  <c:v>69.812901424182996</c:v>
                </c:pt>
                <c:pt idx="319">
                  <c:v>98.190489549725996</c:v>
                </c:pt>
                <c:pt idx="320">
                  <c:v>112.343771942142</c:v>
                </c:pt>
                <c:pt idx="321">
                  <c:v>42.164441321151997</c:v>
                </c:pt>
                <c:pt idx="322">
                  <c:v>126.814146822601</c:v>
                </c:pt>
                <c:pt idx="323">
                  <c:v>184.031710079275</c:v>
                </c:pt>
                <c:pt idx="324">
                  <c:v>99.304865938429998</c:v>
                </c:pt>
                <c:pt idx="325">
                  <c:v>99.587423531084994</c:v>
                </c:pt>
                <c:pt idx="326">
                  <c:v>14.312294260770001</c:v>
                </c:pt>
                <c:pt idx="327">
                  <c:v>71.684587813619999</c:v>
                </c:pt>
                <c:pt idx="328">
                  <c:v>14.351320321469</c:v>
                </c:pt>
                <c:pt idx="329">
                  <c:v>43.208987469393001</c:v>
                </c:pt>
                <c:pt idx="330">
                  <c:v>86.730268863833004</c:v>
                </c:pt>
                <c:pt idx="331">
                  <c:v>115.94202898550699</c:v>
                </c:pt>
                <c:pt idx="332">
                  <c:v>43.674479545784997</c:v>
                </c:pt>
                <c:pt idx="333">
                  <c:v>87.757788503729003</c:v>
                </c:pt>
                <c:pt idx="334">
                  <c:v>29.342723004694001</c:v>
                </c:pt>
                <c:pt idx="335">
                  <c:v>73.496986623547997</c:v>
                </c:pt>
                <c:pt idx="336">
                  <c:v>44.267374944665001</c:v>
                </c:pt>
                <c:pt idx="337">
                  <c:v>59.303187546330001</c:v>
                </c:pt>
                <c:pt idx="338">
                  <c:v>29.797377830750001</c:v>
                </c:pt>
                <c:pt idx="339">
                  <c:v>59.763932466756003</c:v>
                </c:pt>
                <c:pt idx="340">
                  <c:v>44.890019452341001</c:v>
                </c:pt>
                <c:pt idx="341">
                  <c:v>29.971527049302999</c:v>
                </c:pt>
                <c:pt idx="342">
                  <c:v>45.024763619989997</c:v>
                </c:pt>
                <c:pt idx="343">
                  <c:v>45.167118337849999</c:v>
                </c:pt>
                <c:pt idx="344">
                  <c:v>151.10305228165601</c:v>
                </c:pt>
                <c:pt idx="345">
                  <c:v>75.838010010616998</c:v>
                </c:pt>
                <c:pt idx="346">
                  <c:v>76.103500761034994</c:v>
                </c:pt>
                <c:pt idx="347">
                  <c:v>106.707317073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46D-4FF1-A45D-1ECFD79ADBFD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 - bez posilující dávky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9</c:f>
              <c:numCache>
                <c:formatCode>m/d/yyyy</c:formatCode>
                <c:ptCount val="34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</c:numCache>
            </c:numRef>
          </c:cat>
          <c:val>
            <c:numRef>
              <c:f>List1!$C$2:$C$349</c:f>
              <c:numCache>
                <c:formatCode>General</c:formatCode>
                <c:ptCount val="34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.9489758132099999</c:v>
                </c:pt>
                <c:pt idx="11">
                  <c:v>1.949089775075</c:v>
                </c:pt>
                <c:pt idx="12">
                  <c:v>0</c:v>
                </c:pt>
                <c:pt idx="13">
                  <c:v>0</c:v>
                </c:pt>
                <c:pt idx="14">
                  <c:v>1.9494317406470001</c:v>
                </c:pt>
                <c:pt idx="15">
                  <c:v>5.8485232478790001</c:v>
                </c:pt>
                <c:pt idx="16">
                  <c:v>1.9496217733750001</c:v>
                </c:pt>
                <c:pt idx="17">
                  <c:v>3.899471621595</c:v>
                </c:pt>
                <c:pt idx="18">
                  <c:v>0</c:v>
                </c:pt>
                <c:pt idx="19">
                  <c:v>3.8999278513340001</c:v>
                </c:pt>
                <c:pt idx="20">
                  <c:v>1.95007800312</c:v>
                </c:pt>
                <c:pt idx="21">
                  <c:v>5.8505762817629998</c:v>
                </c:pt>
                <c:pt idx="22">
                  <c:v>3.9006123961460002</c:v>
                </c:pt>
                <c:pt idx="23">
                  <c:v>5.8512609467340004</c:v>
                </c:pt>
                <c:pt idx="24">
                  <c:v>5.8516033393139999</c:v>
                </c:pt>
                <c:pt idx="25">
                  <c:v>3.9012971813120001</c:v>
                </c:pt>
                <c:pt idx="26">
                  <c:v>3.901525496469</c:v>
                </c:pt>
                <c:pt idx="27">
                  <c:v>5.8526307575249996</c:v>
                </c:pt>
                <c:pt idx="28">
                  <c:v>7.8039644139220004</c:v>
                </c:pt>
                <c:pt idx="29">
                  <c:v>1.951143370014</c:v>
                </c:pt>
                <c:pt idx="30">
                  <c:v>5.8537727565409998</c:v>
                </c:pt>
                <c:pt idx="31">
                  <c:v>3.9025913206360001</c:v>
                </c:pt>
                <c:pt idx="32">
                  <c:v>1.9513337366079999</c:v>
                </c:pt>
                <c:pt idx="33">
                  <c:v>3.9026674732169999</c:v>
                </c:pt>
                <c:pt idx="34">
                  <c:v>0</c:v>
                </c:pt>
                <c:pt idx="35">
                  <c:v>5.8541154431560001</c:v>
                </c:pt>
                <c:pt idx="36">
                  <c:v>7.805639574592</c:v>
                </c:pt>
                <c:pt idx="37">
                  <c:v>3.9028959487939998</c:v>
                </c:pt>
                <c:pt idx="38">
                  <c:v>3.9028959487939998</c:v>
                </c:pt>
                <c:pt idx="39">
                  <c:v>1.951486056632</c:v>
                </c:pt>
                <c:pt idx="40">
                  <c:v>1.951486056632</c:v>
                </c:pt>
                <c:pt idx="41">
                  <c:v>5.8545724210600003</c:v>
                </c:pt>
                <c:pt idx="42">
                  <c:v>3.9031244511229999</c:v>
                </c:pt>
                <c:pt idx="43">
                  <c:v>7.8062489022459998</c:v>
                </c:pt>
                <c:pt idx="44">
                  <c:v>5.8548009367680001</c:v>
                </c:pt>
                <c:pt idx="45">
                  <c:v>5.854915201311</c:v>
                </c:pt>
                <c:pt idx="46">
                  <c:v>5.854915201311</c:v>
                </c:pt>
                <c:pt idx="47">
                  <c:v>1.9516764901050001</c:v>
                </c:pt>
                <c:pt idx="48">
                  <c:v>1.9516764901050001</c:v>
                </c:pt>
                <c:pt idx="49">
                  <c:v>5.8551437437780001</c:v>
                </c:pt>
                <c:pt idx="50">
                  <c:v>3.9035053478020001</c:v>
                </c:pt>
                <c:pt idx="51">
                  <c:v>3.9035053478020001</c:v>
                </c:pt>
                <c:pt idx="52">
                  <c:v>1.9517907680290001</c:v>
                </c:pt>
                <c:pt idx="53">
                  <c:v>5.8553723040890002</c:v>
                </c:pt>
                <c:pt idx="54">
                  <c:v>5.8554865909349996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5.8557151780129999</c:v>
                </c:pt>
                <c:pt idx="59">
                  <c:v>1.9518669607470001</c:v>
                </c:pt>
                <c:pt idx="60">
                  <c:v>0</c:v>
                </c:pt>
                <c:pt idx="61">
                  <c:v>3.9034291625190001</c:v>
                </c:pt>
                <c:pt idx="62">
                  <c:v>0</c:v>
                </c:pt>
                <c:pt idx="63">
                  <c:v>0</c:v>
                </c:pt>
                <c:pt idx="64">
                  <c:v>1.9515241403529999</c:v>
                </c:pt>
                <c:pt idx="65">
                  <c:v>1.9514479743969999</c:v>
                </c:pt>
                <c:pt idx="66">
                  <c:v>9.7568590719269999</c:v>
                </c:pt>
                <c:pt idx="67">
                  <c:v>3.9025913206360001</c:v>
                </c:pt>
                <c:pt idx="68">
                  <c:v>0</c:v>
                </c:pt>
                <c:pt idx="69">
                  <c:v>1.951181440362</c:v>
                </c:pt>
                <c:pt idx="70">
                  <c:v>3.9022106023059999</c:v>
                </c:pt>
                <c:pt idx="71">
                  <c:v>1.9510291678859999</c:v>
                </c:pt>
                <c:pt idx="72">
                  <c:v>0</c:v>
                </c:pt>
                <c:pt idx="73">
                  <c:v>0</c:v>
                </c:pt>
                <c:pt idx="74">
                  <c:v>1.95083886071</c:v>
                </c:pt>
                <c:pt idx="75">
                  <c:v>3.901525496469</c:v>
                </c:pt>
                <c:pt idx="76">
                  <c:v>3.9013732833949999</c:v>
                </c:pt>
                <c:pt idx="77">
                  <c:v>3.901221082198</c:v>
                </c:pt>
                <c:pt idx="78">
                  <c:v>0</c:v>
                </c:pt>
                <c:pt idx="79">
                  <c:v>7.8019856053360002</c:v>
                </c:pt>
                <c:pt idx="80">
                  <c:v>1.950420315578</c:v>
                </c:pt>
                <c:pt idx="81">
                  <c:v>5.8510327072720001</c:v>
                </c:pt>
                <c:pt idx="82">
                  <c:v>0</c:v>
                </c:pt>
                <c:pt idx="83">
                  <c:v>0</c:v>
                </c:pt>
                <c:pt idx="84">
                  <c:v>1.95015406217</c:v>
                </c:pt>
                <c:pt idx="85">
                  <c:v>3.90015600624</c:v>
                </c:pt>
                <c:pt idx="86">
                  <c:v>1.950001950001</c:v>
                </c:pt>
                <c:pt idx="87">
                  <c:v>9.7496295140780003</c:v>
                </c:pt>
                <c:pt idx="88">
                  <c:v>1.94984986156</c:v>
                </c:pt>
                <c:pt idx="89">
                  <c:v>0</c:v>
                </c:pt>
                <c:pt idx="90">
                  <c:v>5.8496636443399996</c:v>
                </c:pt>
                <c:pt idx="91">
                  <c:v>1.9499639256670001</c:v>
                </c:pt>
                <c:pt idx="92">
                  <c:v>3.900003900003</c:v>
                </c:pt>
                <c:pt idx="93">
                  <c:v>7.8003120124800001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3.9006884715150001</c:v>
                </c:pt>
                <c:pt idx="99">
                  <c:v>0</c:v>
                </c:pt>
                <c:pt idx="100">
                  <c:v>0</c:v>
                </c:pt>
                <c:pt idx="101">
                  <c:v>5.8516033393139999</c:v>
                </c:pt>
                <c:pt idx="102">
                  <c:v>0</c:v>
                </c:pt>
                <c:pt idx="103">
                  <c:v>1.950648590656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1.9508769191749999</c:v>
                </c:pt>
                <c:pt idx="108">
                  <c:v>0</c:v>
                </c:pt>
                <c:pt idx="109">
                  <c:v>0</c:v>
                </c:pt>
                <c:pt idx="110">
                  <c:v>1.9510291678859999</c:v>
                </c:pt>
                <c:pt idx="111">
                  <c:v>0</c:v>
                </c:pt>
                <c:pt idx="112">
                  <c:v>1.951143370014</c:v>
                </c:pt>
                <c:pt idx="113">
                  <c:v>0</c:v>
                </c:pt>
                <c:pt idx="114">
                  <c:v>0</c:v>
                </c:pt>
                <c:pt idx="115">
                  <c:v>3.9026674732169999</c:v>
                </c:pt>
                <c:pt idx="116">
                  <c:v>3.9027436287709998</c:v>
                </c:pt>
                <c:pt idx="117">
                  <c:v>0</c:v>
                </c:pt>
                <c:pt idx="118">
                  <c:v>0</c:v>
                </c:pt>
                <c:pt idx="119">
                  <c:v>1.9515241403529999</c:v>
                </c:pt>
                <c:pt idx="120">
                  <c:v>0</c:v>
                </c:pt>
                <c:pt idx="121">
                  <c:v>0</c:v>
                </c:pt>
                <c:pt idx="122">
                  <c:v>1.951752673901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1">
                  <c:v>1.95232424201</c:v>
                </c:pt>
                <c:pt idx="132">
                  <c:v>0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1.953506544246</c:v>
                </c:pt>
                <c:pt idx="151">
                  <c:v>0</c:v>
                </c:pt>
                <c:pt idx="153">
                  <c:v>1.9531631477169999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3.9051821767480002</c:v>
                </c:pt>
                <c:pt idx="159">
                  <c:v>0</c:v>
                </c:pt>
                <c:pt idx="161">
                  <c:v>3.904572254109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5.8554865909349996</c:v>
                </c:pt>
                <c:pt idx="166">
                  <c:v>0</c:v>
                </c:pt>
                <c:pt idx="167">
                  <c:v>1.9516003122559999</c:v>
                </c:pt>
                <c:pt idx="168">
                  <c:v>0</c:v>
                </c:pt>
                <c:pt idx="169">
                  <c:v>3.9027436287709998</c:v>
                </c:pt>
                <c:pt idx="170">
                  <c:v>1.9512956603180001</c:v>
                </c:pt>
                <c:pt idx="171">
                  <c:v>7.8047257614480001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3.9014493884469998</c:v>
                </c:pt>
                <c:pt idx="176">
                  <c:v>0</c:v>
                </c:pt>
                <c:pt idx="177">
                  <c:v>1.950496401334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5.8487512915990001</c:v>
                </c:pt>
                <c:pt idx="185">
                  <c:v>1.9494317406470001</c:v>
                </c:pt>
                <c:pt idx="186">
                  <c:v>0</c:v>
                </c:pt>
                <c:pt idx="187">
                  <c:v>0</c:v>
                </c:pt>
                <c:pt idx="188">
                  <c:v>3.8979516264199998</c:v>
                </c:pt>
                <c:pt idx="189">
                  <c:v>1.9488238847849999</c:v>
                </c:pt>
                <c:pt idx="190">
                  <c:v>0</c:v>
                </c:pt>
                <c:pt idx="191">
                  <c:v>3.89711613406</c:v>
                </c:pt>
                <c:pt idx="192">
                  <c:v>1.9484062037250001</c:v>
                </c:pt>
                <c:pt idx="193">
                  <c:v>1.948254364089</c:v>
                </c:pt>
                <c:pt idx="194">
                  <c:v>0</c:v>
                </c:pt>
                <c:pt idx="195">
                  <c:v>0</c:v>
                </c:pt>
                <c:pt idx="196">
                  <c:v>1.947798987144</c:v>
                </c:pt>
                <c:pt idx="197">
                  <c:v>0</c:v>
                </c:pt>
                <c:pt idx="198">
                  <c:v>0</c:v>
                </c:pt>
                <c:pt idx="199">
                  <c:v>3.89468764605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1.946775166935</c:v>
                </c:pt>
                <c:pt idx="204">
                  <c:v>0</c:v>
                </c:pt>
                <c:pt idx="205">
                  <c:v>1.9464720194639999</c:v>
                </c:pt>
                <c:pt idx="206">
                  <c:v>0</c:v>
                </c:pt>
                <c:pt idx="207">
                  <c:v>1.9461689663890001</c:v>
                </c:pt>
                <c:pt idx="208">
                  <c:v>1.946017475236</c:v>
                </c:pt>
                <c:pt idx="209">
                  <c:v>0</c:v>
                </c:pt>
                <c:pt idx="210">
                  <c:v>0</c:v>
                </c:pt>
                <c:pt idx="211">
                  <c:v>7.7822525730069998</c:v>
                </c:pt>
                <c:pt idx="212">
                  <c:v>5.8348730915100004</c:v>
                </c:pt>
                <c:pt idx="213">
                  <c:v>0</c:v>
                </c:pt>
                <c:pt idx="214">
                  <c:v>1.943710153941</c:v>
                </c:pt>
                <c:pt idx="215">
                  <c:v>3.8862117208139999</c:v>
                </c:pt>
                <c:pt idx="216">
                  <c:v>1.9425019425009999</c:v>
                </c:pt>
                <c:pt idx="217">
                  <c:v>0</c:v>
                </c:pt>
                <c:pt idx="218">
                  <c:v>3.8825150932770001</c:v>
                </c:pt>
                <c:pt idx="219">
                  <c:v>0</c:v>
                </c:pt>
                <c:pt idx="220">
                  <c:v>0</c:v>
                </c:pt>
                <c:pt idx="221">
                  <c:v>5.8182382374610002</c:v>
                </c:pt>
                <c:pt idx="222">
                  <c:v>3.877547063727</c:v>
                </c:pt>
                <c:pt idx="223">
                  <c:v>0</c:v>
                </c:pt>
                <c:pt idx="224">
                  <c:v>7.750135627373</c:v>
                </c:pt>
                <c:pt idx="225">
                  <c:v>1.936933446966</c:v>
                </c:pt>
                <c:pt idx="226">
                  <c:v>0</c:v>
                </c:pt>
                <c:pt idx="227">
                  <c:v>1.935696173128</c:v>
                </c:pt>
                <c:pt idx="228">
                  <c:v>1.9351342983199999</c:v>
                </c:pt>
                <c:pt idx="229">
                  <c:v>0</c:v>
                </c:pt>
                <c:pt idx="230">
                  <c:v>1.933861922258</c:v>
                </c:pt>
                <c:pt idx="231">
                  <c:v>0</c:v>
                </c:pt>
                <c:pt idx="232">
                  <c:v>3.8847020433530002</c:v>
                </c:pt>
                <c:pt idx="233">
                  <c:v>1.9460932178649999</c:v>
                </c:pt>
                <c:pt idx="234">
                  <c:v>3.8998518056310001</c:v>
                </c:pt>
                <c:pt idx="235">
                  <c:v>3.9060211315740001</c:v>
                </c:pt>
                <c:pt idx="236">
                  <c:v>0</c:v>
                </c:pt>
                <c:pt idx="237">
                  <c:v>1.9532012969250001</c:v>
                </c:pt>
                <c:pt idx="238">
                  <c:v>7.8397553996309997</c:v>
                </c:pt>
                <c:pt idx="239">
                  <c:v>5.8793556226229997</c:v>
                </c:pt>
                <c:pt idx="240">
                  <c:v>3.939722249581</c:v>
                </c:pt>
                <c:pt idx="241">
                  <c:v>15.841584158414999</c:v>
                </c:pt>
                <c:pt idx="242">
                  <c:v>3.9995200575930001</c:v>
                </c:pt>
                <c:pt idx="243">
                  <c:v>10.003601296466</c:v>
                </c:pt>
                <c:pt idx="244">
                  <c:v>2.0011206275509998</c:v>
                </c:pt>
                <c:pt idx="245">
                  <c:v>0</c:v>
                </c:pt>
                <c:pt idx="246">
                  <c:v>4.0619034079359997</c:v>
                </c:pt>
                <c:pt idx="247">
                  <c:v>6.1602907657239996</c:v>
                </c:pt>
                <c:pt idx="248">
                  <c:v>10.365057318766</c:v>
                </c:pt>
                <c:pt idx="249">
                  <c:v>10.556540832699</c:v>
                </c:pt>
                <c:pt idx="250">
                  <c:v>2.1157752200400002</c:v>
                </c:pt>
                <c:pt idx="251">
                  <c:v>2.1168501270109998</c:v>
                </c:pt>
                <c:pt idx="252">
                  <c:v>6.4069707842129997</c:v>
                </c:pt>
                <c:pt idx="253">
                  <c:v>17.261468087859999</c:v>
                </c:pt>
                <c:pt idx="254">
                  <c:v>13.086150490730001</c:v>
                </c:pt>
                <c:pt idx="255">
                  <c:v>8.8325568043799993</c:v>
                </c:pt>
                <c:pt idx="256">
                  <c:v>11.23216893182</c:v>
                </c:pt>
                <c:pt idx="257">
                  <c:v>9.0132720430829991</c:v>
                </c:pt>
                <c:pt idx="258">
                  <c:v>13.540044682147</c:v>
                </c:pt>
                <c:pt idx="259">
                  <c:v>27.369765532340999</c:v>
                </c:pt>
                <c:pt idx="260">
                  <c:v>25.372514646860001</c:v>
                </c:pt>
                <c:pt idx="261">
                  <c:v>21.03934357248</c:v>
                </c:pt>
                <c:pt idx="262">
                  <c:v>23.756354824915</c:v>
                </c:pt>
                <c:pt idx="263">
                  <c:v>24.284222540615001</c:v>
                </c:pt>
                <c:pt idx="264">
                  <c:v>19.496502814806998</c:v>
                </c:pt>
                <c:pt idx="265">
                  <c:v>19.538882375928001</c:v>
                </c:pt>
                <c:pt idx="266">
                  <c:v>47.036688617121001</c:v>
                </c:pt>
                <c:pt idx="267">
                  <c:v>40.171734163548997</c:v>
                </c:pt>
                <c:pt idx="268">
                  <c:v>38.509922723420999</c:v>
                </c:pt>
                <c:pt idx="269">
                  <c:v>36.040674475479001</c:v>
                </c:pt>
                <c:pt idx="270">
                  <c:v>62.704114957544</c:v>
                </c:pt>
                <c:pt idx="271">
                  <c:v>39.289643250038999</c:v>
                </c:pt>
                <c:pt idx="272">
                  <c:v>36.758914036653003</c:v>
                </c:pt>
                <c:pt idx="273">
                  <c:v>111.624940200924</c:v>
                </c:pt>
                <c:pt idx="274">
                  <c:v>67.447256245614994</c:v>
                </c:pt>
                <c:pt idx="275">
                  <c:v>71.373668606566</c:v>
                </c:pt>
                <c:pt idx="276">
                  <c:v>53.366289357638003</c:v>
                </c:pt>
                <c:pt idx="277">
                  <c:v>66.618392469225</c:v>
                </c:pt>
                <c:pt idx="278">
                  <c:v>34.907059952875002</c:v>
                </c:pt>
                <c:pt idx="279">
                  <c:v>40.832993058390997</c:v>
                </c:pt>
                <c:pt idx="280">
                  <c:v>109.363915819342</c:v>
                </c:pt>
                <c:pt idx="281">
                  <c:v>93.051178147981005</c:v>
                </c:pt>
                <c:pt idx="282">
                  <c:v>97.736782627286004</c:v>
                </c:pt>
                <c:pt idx="283">
                  <c:v>77.716985824421002</c:v>
                </c:pt>
                <c:pt idx="284">
                  <c:v>86.380650734235005</c:v>
                </c:pt>
                <c:pt idx="285">
                  <c:v>105.990043359563</c:v>
                </c:pt>
                <c:pt idx="286">
                  <c:v>54.699314649762997</c:v>
                </c:pt>
                <c:pt idx="287">
                  <c:v>127.135219715738</c:v>
                </c:pt>
                <c:pt idx="288">
                  <c:v>99.817002162701002</c:v>
                </c:pt>
                <c:pt idx="289">
                  <c:v>73.414088831046996</c:v>
                </c:pt>
                <c:pt idx="290">
                  <c:v>108.651364932771</c:v>
                </c:pt>
                <c:pt idx="291">
                  <c:v>135.93586615545399</c:v>
                </c:pt>
                <c:pt idx="292">
                  <c:v>84.060102973626002</c:v>
                </c:pt>
                <c:pt idx="293">
                  <c:v>56.148231330713003</c:v>
                </c:pt>
                <c:pt idx="294">
                  <c:v>145.772594752186</c:v>
                </c:pt>
                <c:pt idx="295">
                  <c:v>144.56612092955999</c:v>
                </c:pt>
                <c:pt idx="296">
                  <c:v>91.955714128075002</c:v>
                </c:pt>
                <c:pt idx="297">
                  <c:v>138.61311954444901</c:v>
                </c:pt>
                <c:pt idx="298">
                  <c:v>124.01178111920601</c:v>
                </c:pt>
                <c:pt idx="299">
                  <c:v>93.523497778815994</c:v>
                </c:pt>
                <c:pt idx="300">
                  <c:v>90.019569471623996</c:v>
                </c:pt>
                <c:pt idx="301">
                  <c:v>143.09563558311399</c:v>
                </c:pt>
                <c:pt idx="302">
                  <c:v>112.898673440587</c:v>
                </c:pt>
                <c:pt idx="303">
                  <c:v>135.30135301352999</c:v>
                </c:pt>
                <c:pt idx="304">
                  <c:v>100.355425465189</c:v>
                </c:pt>
                <c:pt idx="305">
                  <c:v>125.437951468489</c:v>
                </c:pt>
                <c:pt idx="306">
                  <c:v>52.180719224245998</c:v>
                </c:pt>
                <c:pt idx="307">
                  <c:v>52.333187963366001</c:v>
                </c:pt>
                <c:pt idx="308">
                  <c:v>106.07265977194299</c:v>
                </c:pt>
                <c:pt idx="309">
                  <c:v>103.25476992143599</c:v>
                </c:pt>
                <c:pt idx="310">
                  <c:v>82.120534695925002</c:v>
                </c:pt>
                <c:pt idx="311">
                  <c:v>69.673463700124998</c:v>
                </c:pt>
                <c:pt idx="312">
                  <c:v>76.361380231946995</c:v>
                </c:pt>
                <c:pt idx="313">
                  <c:v>57.587100489489998</c:v>
                </c:pt>
                <c:pt idx="314">
                  <c:v>33.697588215472003</c:v>
                </c:pt>
                <c:pt idx="315">
                  <c:v>82.648646020710004</c:v>
                </c:pt>
                <c:pt idx="316">
                  <c:v>68.890857199094</c:v>
                </c:pt>
                <c:pt idx="317">
                  <c:v>44.991001799640003</c:v>
                </c:pt>
                <c:pt idx="318">
                  <c:v>40.660736975856999</c:v>
                </c:pt>
                <c:pt idx="319">
                  <c:v>26.030820491461</c:v>
                </c:pt>
                <c:pt idx="320">
                  <c:v>41.827878280874003</c:v>
                </c:pt>
                <c:pt idx="321">
                  <c:v>31.461381154632001</c:v>
                </c:pt>
                <c:pt idx="322">
                  <c:v>42.487652026128998</c:v>
                </c:pt>
                <c:pt idx="323">
                  <c:v>48.447004360229997</c:v>
                </c:pt>
                <c:pt idx="324">
                  <c:v>54.632867132866998</c:v>
                </c:pt>
                <c:pt idx="325">
                  <c:v>49.485896519491</c:v>
                </c:pt>
                <c:pt idx="326">
                  <c:v>10.999890001099001</c:v>
                </c:pt>
                <c:pt idx="327">
                  <c:v>11.002915772679</c:v>
                </c:pt>
                <c:pt idx="328">
                  <c:v>16.510731975784001</c:v>
                </c:pt>
                <c:pt idx="329">
                  <c:v>77.782099005500001</c:v>
                </c:pt>
                <c:pt idx="330">
                  <c:v>89.746466232892004</c:v>
                </c:pt>
                <c:pt idx="331">
                  <c:v>28.367184840576002</c:v>
                </c:pt>
                <c:pt idx="332">
                  <c:v>74.549833696524004</c:v>
                </c:pt>
                <c:pt idx="333">
                  <c:v>34.488704949129001</c:v>
                </c:pt>
                <c:pt idx="334">
                  <c:v>17.257248044177999</c:v>
                </c:pt>
                <c:pt idx="335">
                  <c:v>51.891143911439002</c:v>
                </c:pt>
                <c:pt idx="336">
                  <c:v>98.952270081489999</c:v>
                </c:pt>
                <c:pt idx="337">
                  <c:v>76.587722398962995</c:v>
                </c:pt>
                <c:pt idx="338">
                  <c:v>35.818757089129001</c:v>
                </c:pt>
                <c:pt idx="339">
                  <c:v>48.429081663538</c:v>
                </c:pt>
                <c:pt idx="340">
                  <c:v>37.294878170064003</c:v>
                </c:pt>
                <c:pt idx="341">
                  <c:v>31.228530385359999</c:v>
                </c:pt>
                <c:pt idx="342">
                  <c:v>31.324395439168001</c:v>
                </c:pt>
                <c:pt idx="343">
                  <c:v>44.242194412841997</c:v>
                </c:pt>
                <c:pt idx="344">
                  <c:v>63.856960408684003</c:v>
                </c:pt>
                <c:pt idx="345">
                  <c:v>154.758834150116</c:v>
                </c:pt>
                <c:pt idx="346">
                  <c:v>78.262570925454</c:v>
                </c:pt>
                <c:pt idx="347">
                  <c:v>112.4784967579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46D-4FF1-A45D-1ECFD79ADBFD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Ukončené očkování - s posilující dávkou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70AD47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9</c:f>
              <c:numCache>
                <c:formatCode>m/d/yyyy</c:formatCode>
                <c:ptCount val="34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</c:numCache>
            </c:numRef>
          </c:cat>
          <c:val>
            <c:numRef>
              <c:f>List1!$D$2:$D$349</c:f>
              <c:numCache>
                <c:formatCode>General</c:formatCode>
                <c:ptCount val="348"/>
                <c:pt idx="226">
                  <c:v>0</c:v>
                </c:pt>
                <c:pt idx="228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31.104199066873999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13.246787653993</c:v>
                </c:pt>
                <c:pt idx="258">
                  <c:v>0</c:v>
                </c:pt>
                <c:pt idx="259">
                  <c:v>12.367054167697001</c:v>
                </c:pt>
                <c:pt idx="260">
                  <c:v>11.657729074376</c:v>
                </c:pt>
                <c:pt idx="261">
                  <c:v>21.843599825251001</c:v>
                </c:pt>
                <c:pt idx="262">
                  <c:v>0</c:v>
                </c:pt>
                <c:pt idx="263">
                  <c:v>9.2962721948489992</c:v>
                </c:pt>
                <c:pt idx="264">
                  <c:v>9.1709464416719992</c:v>
                </c:pt>
                <c:pt idx="265">
                  <c:v>0</c:v>
                </c:pt>
                <c:pt idx="266">
                  <c:v>17.322016282694999</c:v>
                </c:pt>
                <c:pt idx="267">
                  <c:v>8.2562747688239995</c:v>
                </c:pt>
                <c:pt idx="268">
                  <c:v>15.395273650988999</c:v>
                </c:pt>
                <c:pt idx="269">
                  <c:v>7.6341705473700001</c:v>
                </c:pt>
                <c:pt idx="270">
                  <c:v>43.891733723481998</c:v>
                </c:pt>
                <c:pt idx="271">
                  <c:v>0</c:v>
                </c:pt>
                <c:pt idx="272">
                  <c:v>14.427932477276</c:v>
                </c:pt>
                <c:pt idx="273">
                  <c:v>13.966480446926999</c:v>
                </c:pt>
                <c:pt idx="274">
                  <c:v>13.442667025137</c:v>
                </c:pt>
                <c:pt idx="275">
                  <c:v>6.4453754431189996</c:v>
                </c:pt>
                <c:pt idx="276">
                  <c:v>6.120700208103</c:v>
                </c:pt>
                <c:pt idx="277">
                  <c:v>28.710881424059</c:v>
                </c:pt>
                <c:pt idx="278">
                  <c:v>34.166619213028</c:v>
                </c:pt>
                <c:pt idx="279">
                  <c:v>5.6654013936879997</c:v>
                </c:pt>
                <c:pt idx="280">
                  <c:v>16.571838921725</c:v>
                </c:pt>
                <c:pt idx="281">
                  <c:v>48.337719533809</c:v>
                </c:pt>
                <c:pt idx="282">
                  <c:v>20.843103538116001</c:v>
                </c:pt>
                <c:pt idx="283">
                  <c:v>55.659565855385999</c:v>
                </c:pt>
                <c:pt idx="284">
                  <c:v>38.699690402476001</c:v>
                </c:pt>
                <c:pt idx="285">
                  <c:v>19.237243303033999</c:v>
                </c:pt>
                <c:pt idx="286">
                  <c:v>9.593706528517</c:v>
                </c:pt>
                <c:pt idx="287">
                  <c:v>28.236622899901</c:v>
                </c:pt>
                <c:pt idx="288">
                  <c:v>45.728918968355003</c:v>
                </c:pt>
                <c:pt idx="289">
                  <c:v>31.883397859256998</c:v>
                </c:pt>
                <c:pt idx="290">
                  <c:v>26.704646608509002</c:v>
                </c:pt>
                <c:pt idx="291">
                  <c:v>55.964527099746</c:v>
                </c:pt>
                <c:pt idx="292">
                  <c:v>34.237781391764997</c:v>
                </c:pt>
                <c:pt idx="293">
                  <c:v>12.809564474807001</c:v>
                </c:pt>
                <c:pt idx="294">
                  <c:v>25.222801412475999</c:v>
                </c:pt>
                <c:pt idx="295">
                  <c:v>70.120442171258006</c:v>
                </c:pt>
                <c:pt idx="296">
                  <c:v>32.357223750202003</c:v>
                </c:pt>
                <c:pt idx="297">
                  <c:v>35.690208986000997</c:v>
                </c:pt>
                <c:pt idx="298">
                  <c:v>38.308305240575997</c:v>
                </c:pt>
                <c:pt idx="299">
                  <c:v>19.051247856734001</c:v>
                </c:pt>
                <c:pt idx="300">
                  <c:v>41.737810662112999</c:v>
                </c:pt>
                <c:pt idx="301">
                  <c:v>52.344275779554998</c:v>
                </c:pt>
                <c:pt idx="302">
                  <c:v>44.278808900039998</c:v>
                </c:pt>
                <c:pt idx="303">
                  <c:v>43.623673113275999</c:v>
                </c:pt>
                <c:pt idx="304">
                  <c:v>28.591851322373</c:v>
                </c:pt>
                <c:pt idx="305">
                  <c:v>38.230285336946999</c:v>
                </c:pt>
                <c:pt idx="306">
                  <c:v>13.844183712316999</c:v>
                </c:pt>
                <c:pt idx="307">
                  <c:v>10.360189246122999</c:v>
                </c:pt>
                <c:pt idx="308">
                  <c:v>44.432292022694</c:v>
                </c:pt>
                <c:pt idx="309">
                  <c:v>43.910018239545998</c:v>
                </c:pt>
                <c:pt idx="310">
                  <c:v>26.702269692923</c:v>
                </c:pt>
                <c:pt idx="311">
                  <c:v>29.656967739809001</c:v>
                </c:pt>
                <c:pt idx="312">
                  <c:v>22.639068564035998</c:v>
                </c:pt>
                <c:pt idx="313">
                  <c:v>12.889920082494999</c:v>
                </c:pt>
                <c:pt idx="314">
                  <c:v>6.4319022350859996</c:v>
                </c:pt>
                <c:pt idx="315">
                  <c:v>15.976482617586001</c:v>
                </c:pt>
                <c:pt idx="316">
                  <c:v>22.194039315154999</c:v>
                </c:pt>
                <c:pt idx="317">
                  <c:v>25.113796892166999</c:v>
                </c:pt>
                <c:pt idx="318">
                  <c:v>9.3219812317439992</c:v>
                </c:pt>
                <c:pt idx="319">
                  <c:v>39.821111315320998</c:v>
                </c:pt>
                <c:pt idx="320">
                  <c:v>15.278838808250001</c:v>
                </c:pt>
                <c:pt idx="321">
                  <c:v>18.305519114012</c:v>
                </c:pt>
                <c:pt idx="322">
                  <c:v>30.287427688766002</c:v>
                </c:pt>
                <c:pt idx="323">
                  <c:v>27.054650393795001</c:v>
                </c:pt>
                <c:pt idx="324">
                  <c:v>14.909351145038</c:v>
                </c:pt>
                <c:pt idx="325">
                  <c:v>23.774145616641</c:v>
                </c:pt>
                <c:pt idx="326">
                  <c:v>2.9715032835109998</c:v>
                </c:pt>
                <c:pt idx="327">
                  <c:v>14.856633486851001</c:v>
                </c:pt>
                <c:pt idx="328">
                  <c:v>11.883894352179</c:v>
                </c:pt>
                <c:pt idx="329">
                  <c:v>26.605965648742</c:v>
                </c:pt>
                <c:pt idx="330">
                  <c:v>35.298270384751</c:v>
                </c:pt>
                <c:pt idx="331">
                  <c:v>40.941658137154</c:v>
                </c:pt>
                <c:pt idx="332">
                  <c:v>20.360674810936001</c:v>
                </c:pt>
                <c:pt idx="333">
                  <c:v>26.148348295999</c:v>
                </c:pt>
                <c:pt idx="334">
                  <c:v>5.8102376387190002</c:v>
                </c:pt>
                <c:pt idx="335">
                  <c:v>37.733658423313003</c:v>
                </c:pt>
                <c:pt idx="336">
                  <c:v>60.683118534358002</c:v>
                </c:pt>
                <c:pt idx="337">
                  <c:v>40.227573127981003</c:v>
                </c:pt>
                <c:pt idx="338">
                  <c:v>37.125885309571999</c:v>
                </c:pt>
                <c:pt idx="339">
                  <c:v>39.729837107667002</c:v>
                </c:pt>
                <c:pt idx="340">
                  <c:v>30.847752320592001</c:v>
                </c:pt>
                <c:pt idx="341">
                  <c:v>30.789900912499998</c:v>
                </c:pt>
                <c:pt idx="342">
                  <c:v>22.367611698259999</c:v>
                </c:pt>
                <c:pt idx="343">
                  <c:v>78.003120124803999</c:v>
                </c:pt>
                <c:pt idx="344">
                  <c:v>88.770528184642004</c:v>
                </c:pt>
                <c:pt idx="345">
                  <c:v>129.87012987012901</c:v>
                </c:pt>
                <c:pt idx="346">
                  <c:v>79.768945124466995</c:v>
                </c:pt>
                <c:pt idx="347">
                  <c:v>90.2502392998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46D-4FF1-A45D-1ECFD79ADB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ax val="4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5679636904293355"/>
          <c:h val="0.8407698460641014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9</c:f>
              <c:numCache>
                <c:formatCode>m/d/yyyy</c:formatCode>
                <c:ptCount val="34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</c:numCache>
            </c:numRef>
          </c:cat>
          <c:val>
            <c:numRef>
              <c:f>List1!$B$2:$B$349</c:f>
              <c:numCache>
                <c:formatCode>General</c:formatCode>
                <c:ptCount val="348"/>
                <c:pt idx="0">
                  <c:v>125.260551733586</c:v>
                </c:pt>
                <c:pt idx="1">
                  <c:v>111.434347418766</c:v>
                </c:pt>
                <c:pt idx="2">
                  <c:v>135.19289839657199</c:v>
                </c:pt>
                <c:pt idx="3">
                  <c:v>109.97910397024501</c:v>
                </c:pt>
                <c:pt idx="4">
                  <c:v>110.369738624391</c:v>
                </c:pt>
                <c:pt idx="5">
                  <c:v>54.359862288347998</c:v>
                </c:pt>
                <c:pt idx="6">
                  <c:v>30.286204633789001</c:v>
                </c:pt>
                <c:pt idx="7">
                  <c:v>131.65549125868699</c:v>
                </c:pt>
                <c:pt idx="8">
                  <c:v>121.156892998788</c:v>
                </c:pt>
                <c:pt idx="9">
                  <c:v>108.400513586899</c:v>
                </c:pt>
                <c:pt idx="10">
                  <c:v>116.066630843632</c:v>
                </c:pt>
                <c:pt idx="11">
                  <c:v>112.647435614259</c:v>
                </c:pt>
                <c:pt idx="12">
                  <c:v>55.350145017378999</c:v>
                </c:pt>
                <c:pt idx="13">
                  <c:v>29.956396800213</c:v>
                </c:pt>
                <c:pt idx="14">
                  <c:v>142.15045203843701</c:v>
                </c:pt>
                <c:pt idx="15">
                  <c:v>138.29637616614301</c:v>
                </c:pt>
                <c:pt idx="16">
                  <c:v>137.344433333734</c:v>
                </c:pt>
                <c:pt idx="17">
                  <c:v>133.22376612381001</c:v>
                </c:pt>
                <c:pt idx="18">
                  <c:v>157.48233125063999</c:v>
                </c:pt>
                <c:pt idx="19">
                  <c:v>73.257248611967</c:v>
                </c:pt>
                <c:pt idx="20">
                  <c:v>42.548802186750002</c:v>
                </c:pt>
                <c:pt idx="21">
                  <c:v>162.423410099302</c:v>
                </c:pt>
                <c:pt idx="22">
                  <c:v>204.97606365046099</c:v>
                </c:pt>
                <c:pt idx="23">
                  <c:v>170.61559206362301</c:v>
                </c:pt>
                <c:pt idx="24">
                  <c:v>175.379521284058</c:v>
                </c:pt>
                <c:pt idx="25">
                  <c:v>195.76742258613001</c:v>
                </c:pt>
                <c:pt idx="26">
                  <c:v>103.107546899613</c:v>
                </c:pt>
                <c:pt idx="27">
                  <c:v>50.156919505308998</c:v>
                </c:pt>
                <c:pt idx="28">
                  <c:v>168.230533841892</c:v>
                </c:pt>
                <c:pt idx="29">
                  <c:v>200.57390489575999</c:v>
                </c:pt>
                <c:pt idx="30">
                  <c:v>165.421085280477</c:v>
                </c:pt>
                <c:pt idx="31">
                  <c:v>164.13255942344699</c:v>
                </c:pt>
                <c:pt idx="32">
                  <c:v>164.01582978467201</c:v>
                </c:pt>
                <c:pt idx="33">
                  <c:v>91.823217726395995</c:v>
                </c:pt>
                <c:pt idx="34">
                  <c:v>55.720374079484003</c:v>
                </c:pt>
                <c:pt idx="35">
                  <c:v>157.55188607786599</c:v>
                </c:pt>
                <c:pt idx="36">
                  <c:v>169.36222154409501</c:v>
                </c:pt>
                <c:pt idx="37">
                  <c:v>185.63407075572999</c:v>
                </c:pt>
                <c:pt idx="38">
                  <c:v>131.11011707362201</c:v>
                </c:pt>
                <c:pt idx="39">
                  <c:v>161.57849763069899</c:v>
                </c:pt>
                <c:pt idx="40">
                  <c:v>74.581643592969996</c:v>
                </c:pt>
                <c:pt idx="41">
                  <c:v>45.059743004086002</c:v>
                </c:pt>
                <c:pt idx="42">
                  <c:v>154.299340720998</c:v>
                </c:pt>
                <c:pt idx="43">
                  <c:v>142.381049238809</c:v>
                </c:pt>
                <c:pt idx="44">
                  <c:v>143.05252071117499</c:v>
                </c:pt>
                <c:pt idx="45">
                  <c:v>127.897429419566</c:v>
                </c:pt>
                <c:pt idx="46">
                  <c:v>122.34651074107001</c:v>
                </c:pt>
                <c:pt idx="47">
                  <c:v>44.493175064752997</c:v>
                </c:pt>
                <c:pt idx="48">
                  <c:v>34.962256654747002</c:v>
                </c:pt>
                <c:pt idx="49">
                  <c:v>145.38134645493099</c:v>
                </c:pt>
                <c:pt idx="50">
                  <c:v>101.14632501685701</c:v>
                </c:pt>
                <c:pt idx="51">
                  <c:v>104.977550954488</c:v>
                </c:pt>
                <c:pt idx="52">
                  <c:v>76.593386894381993</c:v>
                </c:pt>
                <c:pt idx="53">
                  <c:v>87.257161672703006</c:v>
                </c:pt>
                <c:pt idx="54">
                  <c:v>44.497181845149001</c:v>
                </c:pt>
                <c:pt idx="55">
                  <c:v>23.096974296367002</c:v>
                </c:pt>
                <c:pt idx="56">
                  <c:v>86.487924955091998</c:v>
                </c:pt>
                <c:pt idx="57">
                  <c:v>88.847166110673001</c:v>
                </c:pt>
                <c:pt idx="58">
                  <c:v>59.230678106649002</c:v>
                </c:pt>
                <c:pt idx="59">
                  <c:v>83.849549950373998</c:v>
                </c:pt>
                <c:pt idx="60">
                  <c:v>43.389971709737999</c:v>
                </c:pt>
                <c:pt idx="61">
                  <c:v>36.477331943720003</c:v>
                </c:pt>
                <c:pt idx="62">
                  <c:v>39.963858771197998</c:v>
                </c:pt>
                <c:pt idx="63">
                  <c:v>38.605295944688997</c:v>
                </c:pt>
                <c:pt idx="64">
                  <c:v>113.39274640775299</c:v>
                </c:pt>
                <c:pt idx="65">
                  <c:v>85.922955749677001</c:v>
                </c:pt>
                <c:pt idx="66">
                  <c:v>61.642221295573997</c:v>
                </c:pt>
                <c:pt idx="67">
                  <c:v>47.875964424475001</c:v>
                </c:pt>
                <c:pt idx="68">
                  <c:v>22.143489813994002</c:v>
                </c:pt>
                <c:pt idx="69">
                  <c:v>14.773230905599</c:v>
                </c:pt>
                <c:pt idx="70">
                  <c:v>35.498757543484999</c:v>
                </c:pt>
                <c:pt idx="71">
                  <c:v>49.199560988531999</c:v>
                </c:pt>
                <c:pt idx="72">
                  <c:v>44.127239937070001</c:v>
                </c:pt>
                <c:pt idx="73">
                  <c:v>37.097057617586998</c:v>
                </c:pt>
                <c:pt idx="74">
                  <c:v>45.169779453642001</c:v>
                </c:pt>
                <c:pt idx="75">
                  <c:v>11.819399574501</c:v>
                </c:pt>
                <c:pt idx="76">
                  <c:v>9.8745926730519997</c:v>
                </c:pt>
                <c:pt idx="77">
                  <c:v>51.45152672511</c:v>
                </c:pt>
                <c:pt idx="78">
                  <c:v>46.365359029148998</c:v>
                </c:pt>
                <c:pt idx="79">
                  <c:v>34.757007626095998</c:v>
                </c:pt>
                <c:pt idx="80">
                  <c:v>24.916426153941</c:v>
                </c:pt>
                <c:pt idx="81">
                  <c:v>19.008997592193001</c:v>
                </c:pt>
                <c:pt idx="82">
                  <c:v>16.987662709955998</c:v>
                </c:pt>
                <c:pt idx="83">
                  <c:v>6.3873275421560001</c:v>
                </c:pt>
                <c:pt idx="84">
                  <c:v>21.512778590482</c:v>
                </c:pt>
                <c:pt idx="85">
                  <c:v>21.77084013672</c:v>
                </c:pt>
                <c:pt idx="86">
                  <c:v>13.221392212599</c:v>
                </c:pt>
                <c:pt idx="87">
                  <c:v>31.188041613757999</c:v>
                </c:pt>
                <c:pt idx="88">
                  <c:v>27.099658995957</c:v>
                </c:pt>
                <c:pt idx="89">
                  <c:v>6.7894808310319998</c:v>
                </c:pt>
                <c:pt idx="90">
                  <c:v>6.8054988430650001</c:v>
                </c:pt>
                <c:pt idx="91">
                  <c:v>36.584808158412002</c:v>
                </c:pt>
                <c:pt idx="92">
                  <c:v>18.412815319461998</c:v>
                </c:pt>
                <c:pt idx="93">
                  <c:v>16.202203499675001</c:v>
                </c:pt>
                <c:pt idx="94">
                  <c:v>11.651480903222</c:v>
                </c:pt>
                <c:pt idx="95">
                  <c:v>35.143620261468001</c:v>
                </c:pt>
                <c:pt idx="96">
                  <c:v>11.729654913552</c:v>
                </c:pt>
                <c:pt idx="97">
                  <c:v>7.0508602049449998</c:v>
                </c:pt>
                <c:pt idx="98">
                  <c:v>23.587130861401999</c:v>
                </c:pt>
                <c:pt idx="99">
                  <c:v>42.622717908645001</c:v>
                </c:pt>
                <c:pt idx="100">
                  <c:v>9.5185969588080006</c:v>
                </c:pt>
                <c:pt idx="101">
                  <c:v>16.734401147501</c:v>
                </c:pt>
                <c:pt idx="102">
                  <c:v>14.412336960437999</c:v>
                </c:pt>
                <c:pt idx="103">
                  <c:v>0</c:v>
                </c:pt>
                <c:pt idx="104">
                  <c:v>2.4052337887239998</c:v>
                </c:pt>
                <c:pt idx="105">
                  <c:v>9.6420392913100006</c:v>
                </c:pt>
                <c:pt idx="106">
                  <c:v>4.8302178428240001</c:v>
                </c:pt>
                <c:pt idx="107">
                  <c:v>4.8456655521630001</c:v>
                </c:pt>
                <c:pt idx="108">
                  <c:v>9.7292827086320006</c:v>
                </c:pt>
                <c:pt idx="109">
                  <c:v>4.8838856193979998</c:v>
                </c:pt>
                <c:pt idx="110">
                  <c:v>7.3286918285080001</c:v>
                </c:pt>
                <c:pt idx="111">
                  <c:v>0</c:v>
                </c:pt>
                <c:pt idx="112">
                  <c:v>4.8994390142319997</c:v>
                </c:pt>
                <c:pt idx="113">
                  <c:v>12.272950417280001</c:v>
                </c:pt>
                <c:pt idx="114">
                  <c:v>14.784151389710001</c:v>
                </c:pt>
                <c:pt idx="115">
                  <c:v>7.4167470147590002</c:v>
                </c:pt>
                <c:pt idx="116">
                  <c:v>4.9641341309040001</c:v>
                </c:pt>
                <c:pt idx="117">
                  <c:v>0</c:v>
                </c:pt>
                <c:pt idx="118">
                  <c:v>0</c:v>
                </c:pt>
                <c:pt idx="119">
                  <c:v>7.5043149811139997</c:v>
                </c:pt>
                <c:pt idx="120">
                  <c:v>2.5181939512980001</c:v>
                </c:pt>
                <c:pt idx="121">
                  <c:v>0</c:v>
                </c:pt>
                <c:pt idx="122">
                  <c:v>10.235938379649999</c:v>
                </c:pt>
                <c:pt idx="123">
                  <c:v>2.5829781738339999</c:v>
                </c:pt>
                <c:pt idx="124">
                  <c:v>0</c:v>
                </c:pt>
                <c:pt idx="125">
                  <c:v>2.5894660521000001</c:v>
                </c:pt>
                <c:pt idx="126">
                  <c:v>2.607901942886</c:v>
                </c:pt>
                <c:pt idx="127">
                  <c:v>0</c:v>
                </c:pt>
                <c:pt idx="128">
                  <c:v>2.6448729138560001</c:v>
                </c:pt>
                <c:pt idx="129">
                  <c:v>2.6711542057319999</c:v>
                </c:pt>
                <c:pt idx="131">
                  <c:v>2.7097333622369999</c:v>
                </c:pt>
                <c:pt idx="132">
                  <c:v>2.7162841233189998</c:v>
                </c:pt>
                <c:pt idx="133">
                  <c:v>2.7331365475010001</c:v>
                </c:pt>
                <c:pt idx="135">
                  <c:v>0</c:v>
                </c:pt>
                <c:pt idx="136">
                  <c:v>5.5862800960839998</c:v>
                </c:pt>
                <c:pt idx="137">
                  <c:v>8.4573748308520003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5.7643532395659998</c:v>
                </c:pt>
                <c:pt idx="143">
                  <c:v>2.9025048616950002</c:v>
                </c:pt>
                <c:pt idx="145">
                  <c:v>0</c:v>
                </c:pt>
                <c:pt idx="146">
                  <c:v>2.9391881962199999</c:v>
                </c:pt>
                <c:pt idx="147">
                  <c:v>0</c:v>
                </c:pt>
                <c:pt idx="148">
                  <c:v>5.9467174119879997</c:v>
                </c:pt>
                <c:pt idx="150">
                  <c:v>3.0125926372229999</c:v>
                </c:pt>
                <c:pt idx="151">
                  <c:v>3.0340726356980001</c:v>
                </c:pt>
                <c:pt idx="153">
                  <c:v>3.0462728851250001</c:v>
                </c:pt>
                <c:pt idx="154">
                  <c:v>6.1238862181940004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3.1444563235010001</c:v>
                </c:pt>
                <c:pt idx="159">
                  <c:v>3.148912050886</c:v>
                </c:pt>
                <c:pt idx="161">
                  <c:v>3.172085646312</c:v>
                </c:pt>
                <c:pt idx="162">
                  <c:v>6.3875315384359999</c:v>
                </c:pt>
                <c:pt idx="163">
                  <c:v>3.2182280436389998</c:v>
                </c:pt>
                <c:pt idx="164">
                  <c:v>9.7295193617429998</c:v>
                </c:pt>
                <c:pt idx="165">
                  <c:v>0</c:v>
                </c:pt>
                <c:pt idx="166">
                  <c:v>0</c:v>
                </c:pt>
                <c:pt idx="167">
                  <c:v>6.546644844517</c:v>
                </c:pt>
                <c:pt idx="168">
                  <c:v>6.5528652403259997</c:v>
                </c:pt>
                <c:pt idx="169">
                  <c:v>3.2804093950920001</c:v>
                </c:pt>
                <c:pt idx="170">
                  <c:v>9.9032779850130002</c:v>
                </c:pt>
                <c:pt idx="171">
                  <c:v>0</c:v>
                </c:pt>
                <c:pt idx="172">
                  <c:v>6.6748990421509999</c:v>
                </c:pt>
                <c:pt idx="173">
                  <c:v>0</c:v>
                </c:pt>
                <c:pt idx="174">
                  <c:v>3.3486253892770002</c:v>
                </c:pt>
                <c:pt idx="175">
                  <c:v>3.3674568965509999</c:v>
                </c:pt>
                <c:pt idx="176">
                  <c:v>0</c:v>
                </c:pt>
                <c:pt idx="177">
                  <c:v>0</c:v>
                </c:pt>
                <c:pt idx="178">
                  <c:v>6.8549492733750004</c:v>
                </c:pt>
                <c:pt idx="179">
                  <c:v>0</c:v>
                </c:pt>
                <c:pt idx="180">
                  <c:v>3.4537542308479998</c:v>
                </c:pt>
                <c:pt idx="181">
                  <c:v>0</c:v>
                </c:pt>
                <c:pt idx="182">
                  <c:v>0</c:v>
                </c:pt>
                <c:pt idx="183">
                  <c:v>3.5058196606359999</c:v>
                </c:pt>
                <c:pt idx="184">
                  <c:v>3.5290796160359998</c:v>
                </c:pt>
                <c:pt idx="185">
                  <c:v>0</c:v>
                </c:pt>
                <c:pt idx="186">
                  <c:v>3.5774335491709999</c:v>
                </c:pt>
                <c:pt idx="187">
                  <c:v>0</c:v>
                </c:pt>
                <c:pt idx="188">
                  <c:v>0</c:v>
                </c:pt>
                <c:pt idx="189">
                  <c:v>7.2262167142390004</c:v>
                </c:pt>
                <c:pt idx="190">
                  <c:v>3.6353060927729999</c:v>
                </c:pt>
                <c:pt idx="191">
                  <c:v>3.6564408205049999</c:v>
                </c:pt>
                <c:pt idx="192">
                  <c:v>0</c:v>
                </c:pt>
                <c:pt idx="193">
                  <c:v>7.386615452799</c:v>
                </c:pt>
                <c:pt idx="194">
                  <c:v>7.404664938911</c:v>
                </c:pt>
                <c:pt idx="195">
                  <c:v>0</c:v>
                </c:pt>
                <c:pt idx="196">
                  <c:v>7.4454619909159998</c:v>
                </c:pt>
                <c:pt idx="197">
                  <c:v>7.4833495472570002</c:v>
                </c:pt>
                <c:pt idx="198">
                  <c:v>7.521907555756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11.520294919549</c:v>
                </c:pt>
                <c:pt idx="204">
                  <c:v>0</c:v>
                </c:pt>
                <c:pt idx="205">
                  <c:v>0</c:v>
                </c:pt>
                <c:pt idx="206">
                  <c:v>3.904114937143</c:v>
                </c:pt>
                <c:pt idx="207">
                  <c:v>0</c:v>
                </c:pt>
                <c:pt idx="208">
                  <c:v>7.8650359825390002</c:v>
                </c:pt>
                <c:pt idx="209">
                  <c:v>3.938403371273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16.091399147154998</c:v>
                </c:pt>
                <c:pt idx="214">
                  <c:v>8.0942166821800008</c:v>
                </c:pt>
                <c:pt idx="215">
                  <c:v>4.0490747864110004</c:v>
                </c:pt>
                <c:pt idx="216">
                  <c:v>0</c:v>
                </c:pt>
                <c:pt idx="217">
                  <c:v>4.069838427414</c:v>
                </c:pt>
                <c:pt idx="218">
                  <c:v>12.265925259628</c:v>
                </c:pt>
                <c:pt idx="219">
                  <c:v>0</c:v>
                </c:pt>
                <c:pt idx="220">
                  <c:v>8.2426640290139996</c:v>
                </c:pt>
                <c:pt idx="221">
                  <c:v>0</c:v>
                </c:pt>
                <c:pt idx="222">
                  <c:v>0</c:v>
                </c:pt>
                <c:pt idx="223">
                  <c:v>4.1378739603590002</c:v>
                </c:pt>
                <c:pt idx="224">
                  <c:v>8.2935931992529994</c:v>
                </c:pt>
                <c:pt idx="225">
                  <c:v>12.468827930173999</c:v>
                </c:pt>
                <c:pt idx="226">
                  <c:v>8.3277814790129998</c:v>
                </c:pt>
                <c:pt idx="227">
                  <c:v>8.3444592790380003</c:v>
                </c:pt>
                <c:pt idx="228">
                  <c:v>20.907380305246999</c:v>
                </c:pt>
                <c:pt idx="229">
                  <c:v>4.1814760610489996</c:v>
                </c:pt>
                <c:pt idx="230">
                  <c:v>0</c:v>
                </c:pt>
                <c:pt idx="231">
                  <c:v>25.137207256273001</c:v>
                </c:pt>
                <c:pt idx="232">
                  <c:v>20.973154362416</c:v>
                </c:pt>
                <c:pt idx="233">
                  <c:v>16.802486768041</c:v>
                </c:pt>
                <c:pt idx="234">
                  <c:v>12.614582457319999</c:v>
                </c:pt>
                <c:pt idx="235">
                  <c:v>12.637964445193001</c:v>
                </c:pt>
                <c:pt idx="236">
                  <c:v>12.635835228708</c:v>
                </c:pt>
                <c:pt idx="237">
                  <c:v>12.632642748863001</c:v>
                </c:pt>
                <c:pt idx="238">
                  <c:v>8.4313477509370003</c:v>
                </c:pt>
                <c:pt idx="239">
                  <c:v>16.894032183130999</c:v>
                </c:pt>
                <c:pt idx="240">
                  <c:v>33.826638477800998</c:v>
                </c:pt>
                <c:pt idx="241">
                  <c:v>33.883947479881002</c:v>
                </c:pt>
                <c:pt idx="242">
                  <c:v>25.457168314311001</c:v>
                </c:pt>
                <c:pt idx="243">
                  <c:v>12.732906073596</c:v>
                </c:pt>
                <c:pt idx="244">
                  <c:v>8.4900454217429999</c:v>
                </c:pt>
                <c:pt idx="245">
                  <c:v>17.011865776379</c:v>
                </c:pt>
                <c:pt idx="246">
                  <c:v>34.077355597204999</c:v>
                </c:pt>
                <c:pt idx="247">
                  <c:v>21.332878231931002</c:v>
                </c:pt>
                <c:pt idx="248">
                  <c:v>12.822156686754001</c:v>
                </c:pt>
                <c:pt idx="249">
                  <c:v>12.84686536485</c:v>
                </c:pt>
                <c:pt idx="250">
                  <c:v>12.850717498392999</c:v>
                </c:pt>
                <c:pt idx="251">
                  <c:v>8.5682460800270004</c:v>
                </c:pt>
                <c:pt idx="252">
                  <c:v>34.325924654594999</c:v>
                </c:pt>
                <c:pt idx="253">
                  <c:v>25.746652935118</c:v>
                </c:pt>
                <c:pt idx="254">
                  <c:v>30.095876864868998</c:v>
                </c:pt>
                <c:pt idx="255">
                  <c:v>47.340333964537002</c:v>
                </c:pt>
                <c:pt idx="256">
                  <c:v>34.470872113063997</c:v>
                </c:pt>
                <c:pt idx="257">
                  <c:v>17.239893112661999</c:v>
                </c:pt>
                <c:pt idx="258">
                  <c:v>30.175015087506999</c:v>
                </c:pt>
                <c:pt idx="259">
                  <c:v>86.318515321535997</c:v>
                </c:pt>
                <c:pt idx="260">
                  <c:v>73.469034962617002</c:v>
                </c:pt>
                <c:pt idx="261">
                  <c:v>56.252704456944997</c:v>
                </c:pt>
                <c:pt idx="262">
                  <c:v>112.66140913424</c:v>
                </c:pt>
                <c:pt idx="263">
                  <c:v>117.21293683525001</c:v>
                </c:pt>
                <c:pt idx="264">
                  <c:v>43.423509488035997</c:v>
                </c:pt>
                <c:pt idx="265">
                  <c:v>26.056368610761002</c:v>
                </c:pt>
                <c:pt idx="266">
                  <c:v>104.356900600052</c:v>
                </c:pt>
                <c:pt idx="267">
                  <c:v>126.229650909724</c:v>
                </c:pt>
                <c:pt idx="268">
                  <c:v>161.24112084368301</c:v>
                </c:pt>
                <c:pt idx="269">
                  <c:v>61.100685200541001</c:v>
                </c:pt>
                <c:pt idx="270">
                  <c:v>174.94751574527601</c:v>
                </c:pt>
                <c:pt idx="271">
                  <c:v>135.619914253215</c:v>
                </c:pt>
                <c:pt idx="272">
                  <c:v>70.003500175008</c:v>
                </c:pt>
                <c:pt idx="273">
                  <c:v>201.48926850635101</c:v>
                </c:pt>
                <c:pt idx="274">
                  <c:v>214.77098400175299</c:v>
                </c:pt>
                <c:pt idx="275">
                  <c:v>241.36569096414601</c:v>
                </c:pt>
                <c:pt idx="276">
                  <c:v>162.64451184667399</c:v>
                </c:pt>
                <c:pt idx="277">
                  <c:v>154.22578655151099</c:v>
                </c:pt>
                <c:pt idx="278">
                  <c:v>136.67225112423901</c:v>
                </c:pt>
                <c:pt idx="279">
                  <c:v>39.698292973401998</c:v>
                </c:pt>
                <c:pt idx="280">
                  <c:v>269.50605284085799</c:v>
                </c:pt>
                <c:pt idx="281">
                  <c:v>248.11696942844401</c:v>
                </c:pt>
                <c:pt idx="282">
                  <c:v>315.51348709061</c:v>
                </c:pt>
                <c:pt idx="283">
                  <c:v>186.79119412941901</c:v>
                </c:pt>
                <c:pt idx="284">
                  <c:v>298.84032114183702</c:v>
                </c:pt>
                <c:pt idx="285">
                  <c:v>200.88388911209299</c:v>
                </c:pt>
                <c:pt idx="286">
                  <c:v>80.410989501898001</c:v>
                </c:pt>
                <c:pt idx="287">
                  <c:v>340.53230576216498</c:v>
                </c:pt>
                <c:pt idx="288">
                  <c:v>458.15927772537299</c:v>
                </c:pt>
                <c:pt idx="289">
                  <c:v>211.721248704896</c:v>
                </c:pt>
                <c:pt idx="290">
                  <c:v>302.98919187808002</c:v>
                </c:pt>
                <c:pt idx="291">
                  <c:v>558.73535023167005</c:v>
                </c:pt>
                <c:pt idx="292">
                  <c:v>318.23967994180703</c:v>
                </c:pt>
                <c:pt idx="293">
                  <c:v>118.27859157492399</c:v>
                </c:pt>
                <c:pt idx="294">
                  <c:v>383.491599707815</c:v>
                </c:pt>
                <c:pt idx="295">
                  <c:v>498.81017755811803</c:v>
                </c:pt>
                <c:pt idx="296">
                  <c:v>284.75634960731099</c:v>
                </c:pt>
                <c:pt idx="297">
                  <c:v>419.37416470805101</c:v>
                </c:pt>
                <c:pt idx="298">
                  <c:v>333.441393044042</c:v>
                </c:pt>
                <c:pt idx="299">
                  <c:v>176.162440313383</c:v>
                </c:pt>
                <c:pt idx="300">
                  <c:v>115.993133206514</c:v>
                </c:pt>
                <c:pt idx="301">
                  <c:v>391.33473095737202</c:v>
                </c:pt>
                <c:pt idx="302">
                  <c:v>341.88834769576602</c:v>
                </c:pt>
                <c:pt idx="303">
                  <c:v>379.88931619923</c:v>
                </c:pt>
                <c:pt idx="304">
                  <c:v>254.52488687782801</c:v>
                </c:pt>
                <c:pt idx="305">
                  <c:v>289.27775406648601</c:v>
                </c:pt>
                <c:pt idx="306">
                  <c:v>137.813049470132</c:v>
                </c:pt>
                <c:pt idx="307">
                  <c:v>118.962645729241</c:v>
                </c:pt>
                <c:pt idx="308">
                  <c:v>320.54348866137201</c:v>
                </c:pt>
                <c:pt idx="309">
                  <c:v>317.68953068591998</c:v>
                </c:pt>
                <c:pt idx="310">
                  <c:v>227.591884170258</c:v>
                </c:pt>
                <c:pt idx="311">
                  <c:v>253.287871407696</c:v>
                </c:pt>
                <c:pt idx="312">
                  <c:v>201.31591868800899</c:v>
                </c:pt>
                <c:pt idx="313">
                  <c:v>172.11703958691899</c:v>
                </c:pt>
                <c:pt idx="314">
                  <c:v>88.639385433594001</c:v>
                </c:pt>
                <c:pt idx="315">
                  <c:v>217.52026893415001</c:v>
                </c:pt>
                <c:pt idx="316">
                  <c:v>263.314785373608</c:v>
                </c:pt>
                <c:pt idx="317">
                  <c:v>174.755342520471</c:v>
                </c:pt>
                <c:pt idx="318">
                  <c:v>155.669378326805</c:v>
                </c:pt>
                <c:pt idx="319">
                  <c:v>166.616176916086</c:v>
                </c:pt>
                <c:pt idx="320">
                  <c:v>106.22692093681999</c:v>
                </c:pt>
                <c:pt idx="321">
                  <c:v>55.730063836253997</c:v>
                </c:pt>
                <c:pt idx="322">
                  <c:v>157.93764010597101</c:v>
                </c:pt>
                <c:pt idx="323">
                  <c:v>128.03441565092601</c:v>
                </c:pt>
                <c:pt idx="324">
                  <c:v>138.66064092029501</c:v>
                </c:pt>
                <c:pt idx="325">
                  <c:v>129.12556169619299</c:v>
                </c:pt>
                <c:pt idx="326">
                  <c:v>46.848159908385</c:v>
                </c:pt>
                <c:pt idx="327">
                  <c:v>52.189342936171997</c:v>
                </c:pt>
                <c:pt idx="328">
                  <c:v>15.683814303638</c:v>
                </c:pt>
                <c:pt idx="329">
                  <c:v>131.39223209123799</c:v>
                </c:pt>
                <c:pt idx="330">
                  <c:v>184.94055482166399</c:v>
                </c:pt>
                <c:pt idx="331">
                  <c:v>154.22250584981899</c:v>
                </c:pt>
                <c:pt idx="332">
                  <c:v>107.112253641816</c:v>
                </c:pt>
                <c:pt idx="333">
                  <c:v>107.97387032338101</c:v>
                </c:pt>
                <c:pt idx="334">
                  <c:v>16.257519102583998</c:v>
                </c:pt>
                <c:pt idx="335">
                  <c:v>48.889130316691997</c:v>
                </c:pt>
                <c:pt idx="336">
                  <c:v>125.79304309779</c:v>
                </c:pt>
                <c:pt idx="337">
                  <c:v>121.145374449339</c:v>
                </c:pt>
                <c:pt idx="338">
                  <c:v>105.36823425022099</c:v>
                </c:pt>
                <c:pt idx="339">
                  <c:v>105.79653655548699</c:v>
                </c:pt>
                <c:pt idx="340">
                  <c:v>106.003124302611</c:v>
                </c:pt>
                <c:pt idx="341">
                  <c:v>72.670356084744</c:v>
                </c:pt>
                <c:pt idx="342">
                  <c:v>44.807886187968997</c:v>
                </c:pt>
                <c:pt idx="343">
                  <c:v>112.58725512271999</c:v>
                </c:pt>
                <c:pt idx="344">
                  <c:v>130.230451276824</c:v>
                </c:pt>
                <c:pt idx="345">
                  <c:v>165.232750270639</c:v>
                </c:pt>
                <c:pt idx="346">
                  <c:v>102.927721866422</c:v>
                </c:pt>
                <c:pt idx="347">
                  <c:v>183.454680960843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666-4AA4-849E-83600EF90E58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 - bez posilující dávky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9</c:f>
              <c:numCache>
                <c:formatCode>m/d/yyyy</c:formatCode>
                <c:ptCount val="34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</c:numCache>
            </c:numRef>
          </c:cat>
          <c:val>
            <c:numRef>
              <c:f>List1!$C$2:$C$349</c:f>
              <c:numCache>
                <c:formatCode>General</c:formatCode>
                <c:ptCount val="34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.9432002565019999</c:v>
                </c:pt>
                <c:pt idx="10">
                  <c:v>0.97160956841099999</c:v>
                </c:pt>
                <c:pt idx="11">
                  <c:v>3.886438273644</c:v>
                </c:pt>
                <c:pt idx="12">
                  <c:v>0</c:v>
                </c:pt>
                <c:pt idx="13">
                  <c:v>0</c:v>
                </c:pt>
                <c:pt idx="14">
                  <c:v>0.97162844928000003</c:v>
                </c:pt>
                <c:pt idx="15">
                  <c:v>0</c:v>
                </c:pt>
                <c:pt idx="16">
                  <c:v>0.97163788999099998</c:v>
                </c:pt>
                <c:pt idx="17">
                  <c:v>3.8865515599639999</c:v>
                </c:pt>
                <c:pt idx="18">
                  <c:v>3.8865893235389999</c:v>
                </c:pt>
                <c:pt idx="19">
                  <c:v>0</c:v>
                </c:pt>
                <c:pt idx="20">
                  <c:v>0</c:v>
                </c:pt>
                <c:pt idx="21">
                  <c:v>4.8583310661120001</c:v>
                </c:pt>
                <c:pt idx="22">
                  <c:v>4.8583310661120001</c:v>
                </c:pt>
                <c:pt idx="23">
                  <c:v>9.7167565466639996</c:v>
                </c:pt>
                <c:pt idx="24">
                  <c:v>3.8867026186650002</c:v>
                </c:pt>
                <c:pt idx="25">
                  <c:v>9.7168509629390005</c:v>
                </c:pt>
                <c:pt idx="26">
                  <c:v>3.886740385175</c:v>
                </c:pt>
                <c:pt idx="27">
                  <c:v>6.8018617667349996</c:v>
                </c:pt>
                <c:pt idx="28">
                  <c:v>13.602798289933</c:v>
                </c:pt>
                <c:pt idx="29">
                  <c:v>5.8293175812209999</c:v>
                </c:pt>
                <c:pt idx="30">
                  <c:v>7.7718948851210001</c:v>
                </c:pt>
                <c:pt idx="31">
                  <c:v>6.7998795449899996</c:v>
                </c:pt>
                <c:pt idx="32">
                  <c:v>12.627366417033</c:v>
                </c:pt>
                <c:pt idx="33">
                  <c:v>0.97126040462700003</c:v>
                </c:pt>
                <c:pt idx="34">
                  <c:v>2.9135548282450001</c:v>
                </c:pt>
                <c:pt idx="35">
                  <c:v>6.797832462563</c:v>
                </c:pt>
                <c:pt idx="36">
                  <c:v>10.681478316599</c:v>
                </c:pt>
                <c:pt idx="37">
                  <c:v>0.97096805514999995</c:v>
                </c:pt>
                <c:pt idx="38">
                  <c:v>6.7962484708439996</c:v>
                </c:pt>
                <c:pt idx="39">
                  <c:v>8.7373551055269996</c:v>
                </c:pt>
                <c:pt idx="40">
                  <c:v>4.8537092045739998</c:v>
                </c:pt>
                <c:pt idx="41">
                  <c:v>2.9119993787729999</c:v>
                </c:pt>
                <c:pt idx="42">
                  <c:v>9.7059108997370007</c:v>
                </c:pt>
                <c:pt idx="43">
                  <c:v>4.8526257557959998</c:v>
                </c:pt>
                <c:pt idx="44">
                  <c:v>4.8522490174190001</c:v>
                </c:pt>
                <c:pt idx="45">
                  <c:v>3.8814978700279998</c:v>
                </c:pt>
                <c:pt idx="46">
                  <c:v>5.8217948593550002</c:v>
                </c:pt>
                <c:pt idx="47">
                  <c:v>0.97022383063700002</c:v>
                </c:pt>
                <c:pt idx="48">
                  <c:v>1.9402970594790001</c:v>
                </c:pt>
                <c:pt idx="49">
                  <c:v>6.790512683707</c:v>
                </c:pt>
                <c:pt idx="50">
                  <c:v>4.8499898150209999</c:v>
                </c:pt>
                <c:pt idx="51">
                  <c:v>7.7594568380210003</c:v>
                </c:pt>
                <c:pt idx="52">
                  <c:v>4.8492842456450003</c:v>
                </c:pt>
                <c:pt idx="53">
                  <c:v>4.8489080259120003</c:v>
                </c:pt>
                <c:pt idx="54">
                  <c:v>3.8788254916409999</c:v>
                </c:pt>
                <c:pt idx="55">
                  <c:v>3.8785246092380001</c:v>
                </c:pt>
                <c:pt idx="56">
                  <c:v>5.8173356602670001</c:v>
                </c:pt>
                <c:pt idx="57">
                  <c:v>0.96948074611199997</c:v>
                </c:pt>
                <c:pt idx="58">
                  <c:v>3.8776222420409998</c:v>
                </c:pt>
                <c:pt idx="59">
                  <c:v>1.938566817551</c:v>
                </c:pt>
                <c:pt idx="60">
                  <c:v>1.938322575643</c:v>
                </c:pt>
                <c:pt idx="61">
                  <c:v>3.8761192294270002</c:v>
                </c:pt>
                <c:pt idx="62">
                  <c:v>0.96890775029300003</c:v>
                </c:pt>
                <c:pt idx="63">
                  <c:v>1.9375714479470001</c:v>
                </c:pt>
                <c:pt idx="64">
                  <c:v>6.7805804176829998</c:v>
                </c:pt>
                <c:pt idx="65">
                  <c:v>1.93706476576</c:v>
                </c:pt>
                <c:pt idx="66">
                  <c:v>2.9052032189650001</c:v>
                </c:pt>
                <c:pt idx="67">
                  <c:v>1.936558348503</c:v>
                </c:pt>
                <c:pt idx="68">
                  <c:v>2.9044719185969998</c:v>
                </c:pt>
                <c:pt idx="69">
                  <c:v>0.96802609798299999</c:v>
                </c:pt>
                <c:pt idx="70">
                  <c:v>5.8074257617400002</c:v>
                </c:pt>
                <c:pt idx="71">
                  <c:v>1.9355463079449999</c:v>
                </c:pt>
                <c:pt idx="72">
                  <c:v>3.8706056530190001</c:v>
                </c:pt>
                <c:pt idx="73">
                  <c:v>2.902589109485</c:v>
                </c:pt>
                <c:pt idx="74">
                  <c:v>1.934797329979</c:v>
                </c:pt>
                <c:pt idx="75">
                  <c:v>1.9345540369300001</c:v>
                </c:pt>
                <c:pt idx="76">
                  <c:v>0.96715540252999999</c:v>
                </c:pt>
                <c:pt idx="77">
                  <c:v>1.934048931437</c:v>
                </c:pt>
                <c:pt idx="78">
                  <c:v>4.8345145663920004</c:v>
                </c:pt>
                <c:pt idx="79">
                  <c:v>5.800632268917</c:v>
                </c:pt>
                <c:pt idx="80">
                  <c:v>0.96665055582399995</c:v>
                </c:pt>
                <c:pt idx="81">
                  <c:v>1.9330581947159999</c:v>
                </c:pt>
                <c:pt idx="82">
                  <c:v>0.96639833006300002</c:v>
                </c:pt>
                <c:pt idx="83">
                  <c:v>0.96627693496900002</c:v>
                </c:pt>
                <c:pt idx="84">
                  <c:v>1.9322924717879999</c:v>
                </c:pt>
                <c:pt idx="85">
                  <c:v>0.96602490412200004</c:v>
                </c:pt>
                <c:pt idx="86">
                  <c:v>0</c:v>
                </c:pt>
                <c:pt idx="87">
                  <c:v>1.9315460094250001</c:v>
                </c:pt>
                <c:pt idx="88">
                  <c:v>3.8626070666390002</c:v>
                </c:pt>
                <c:pt idx="89">
                  <c:v>1.931154347511</c:v>
                </c:pt>
                <c:pt idx="90">
                  <c:v>0.96562379297000001</c:v>
                </c:pt>
                <c:pt idx="91">
                  <c:v>2.897039225911</c:v>
                </c:pt>
                <c:pt idx="92">
                  <c:v>5.79435822654</c:v>
                </c:pt>
                <c:pt idx="93">
                  <c:v>3.863129327912</c:v>
                </c:pt>
                <c:pt idx="94">
                  <c:v>1.9316579420110001</c:v>
                </c:pt>
                <c:pt idx="95">
                  <c:v>1.93176988757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.96608089961400001</c:v>
                </c:pt>
                <c:pt idx="100">
                  <c:v>1.9322738031969999</c:v>
                </c:pt>
                <c:pt idx="101">
                  <c:v>1.9323671497579999</c:v>
                </c:pt>
                <c:pt idx="102">
                  <c:v>0.96623958876799998</c:v>
                </c:pt>
                <c:pt idx="103">
                  <c:v>0.96628627197000005</c:v>
                </c:pt>
                <c:pt idx="104">
                  <c:v>0</c:v>
                </c:pt>
                <c:pt idx="105">
                  <c:v>2.8991669726890001</c:v>
                </c:pt>
                <c:pt idx="106">
                  <c:v>0.96644502860600001</c:v>
                </c:pt>
                <c:pt idx="107">
                  <c:v>0.96649173166299995</c:v>
                </c:pt>
                <c:pt idx="108">
                  <c:v>1.9330955625790001</c:v>
                </c:pt>
                <c:pt idx="109">
                  <c:v>0.96659449427699995</c:v>
                </c:pt>
                <c:pt idx="110">
                  <c:v>0</c:v>
                </c:pt>
                <c:pt idx="111">
                  <c:v>0</c:v>
                </c:pt>
                <c:pt idx="112">
                  <c:v>0.96674400618699996</c:v>
                </c:pt>
                <c:pt idx="113">
                  <c:v>1.9336001701559999</c:v>
                </c:pt>
                <c:pt idx="114">
                  <c:v>0</c:v>
                </c:pt>
                <c:pt idx="115">
                  <c:v>0</c:v>
                </c:pt>
                <c:pt idx="116">
                  <c:v>0.96694966059999998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.96714604872400001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.96722088423300001</c:v>
                </c:pt>
                <c:pt idx="128">
                  <c:v>0</c:v>
                </c:pt>
                <c:pt idx="129">
                  <c:v>0</c:v>
                </c:pt>
                <c:pt idx="131">
                  <c:v>0</c:v>
                </c:pt>
                <c:pt idx="132">
                  <c:v>0.96729573132299995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.96737994814799999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.96751098124900003</c:v>
                </c:pt>
                <c:pt idx="148">
                  <c:v>0</c:v>
                </c:pt>
                <c:pt idx="150">
                  <c:v>0</c:v>
                </c:pt>
                <c:pt idx="151">
                  <c:v>0.96728637480400004</c:v>
                </c:pt>
                <c:pt idx="153">
                  <c:v>0</c:v>
                </c:pt>
                <c:pt idx="154">
                  <c:v>1.9337871287120001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1">
                  <c:v>0.96596891512000005</c:v>
                </c:pt>
                <c:pt idx="162">
                  <c:v>0.96583829935099996</c:v>
                </c:pt>
                <c:pt idx="163">
                  <c:v>1.931415437803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2.8951380980870001</c:v>
                </c:pt>
                <c:pt idx="169">
                  <c:v>0</c:v>
                </c:pt>
                <c:pt idx="170">
                  <c:v>0.96478533526200005</c:v>
                </c:pt>
                <c:pt idx="171">
                  <c:v>0</c:v>
                </c:pt>
                <c:pt idx="172">
                  <c:v>1.929049557283</c:v>
                </c:pt>
                <c:pt idx="173">
                  <c:v>0.96438525261999997</c:v>
                </c:pt>
                <c:pt idx="174">
                  <c:v>0</c:v>
                </c:pt>
                <c:pt idx="175">
                  <c:v>1.9282498240470001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.96360465228299996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.96360465228299996</c:v>
                </c:pt>
                <c:pt idx="184">
                  <c:v>0</c:v>
                </c:pt>
                <c:pt idx="185">
                  <c:v>0.963697514624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.96392974879899995</c:v>
                </c:pt>
                <c:pt idx="191">
                  <c:v>0.96397620906699999</c:v>
                </c:pt>
                <c:pt idx="192">
                  <c:v>0.964022673813</c:v>
                </c:pt>
                <c:pt idx="193">
                  <c:v>0</c:v>
                </c:pt>
                <c:pt idx="194">
                  <c:v>0.96411561674400004</c:v>
                </c:pt>
                <c:pt idx="195">
                  <c:v>0.96416209493100002</c:v>
                </c:pt>
                <c:pt idx="196">
                  <c:v>0.96419928070700001</c:v>
                </c:pt>
                <c:pt idx="197">
                  <c:v>0.96424576696099995</c:v>
                </c:pt>
                <c:pt idx="198">
                  <c:v>0</c:v>
                </c:pt>
                <c:pt idx="199">
                  <c:v>0.964338752917</c:v>
                </c:pt>
                <c:pt idx="200">
                  <c:v>0</c:v>
                </c:pt>
                <c:pt idx="201">
                  <c:v>0</c:v>
                </c:pt>
                <c:pt idx="202">
                  <c:v>0.964478265482</c:v>
                </c:pt>
                <c:pt idx="203">
                  <c:v>1.929049557283</c:v>
                </c:pt>
                <c:pt idx="204">
                  <c:v>1.929142592574</c:v>
                </c:pt>
                <c:pt idx="205">
                  <c:v>0</c:v>
                </c:pt>
                <c:pt idx="206">
                  <c:v>0.96466434504099996</c:v>
                </c:pt>
                <c:pt idx="207">
                  <c:v>0.96471087614999995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1.9297754706229999</c:v>
                </c:pt>
                <c:pt idx="212">
                  <c:v>0.964776027245</c:v>
                </c:pt>
                <c:pt idx="213">
                  <c:v>1.9293286900819999</c:v>
                </c:pt>
                <c:pt idx="214">
                  <c:v>3.8582107547620001</c:v>
                </c:pt>
                <c:pt idx="215">
                  <c:v>0</c:v>
                </c:pt>
                <c:pt idx="216">
                  <c:v>0.96432015429100004</c:v>
                </c:pt>
                <c:pt idx="217">
                  <c:v>0.96420857759900003</c:v>
                </c:pt>
                <c:pt idx="218">
                  <c:v>2.8922910801740001</c:v>
                </c:pt>
                <c:pt idx="219">
                  <c:v>0.96397620906699999</c:v>
                </c:pt>
                <c:pt idx="220">
                  <c:v>1.9277294238980001</c:v>
                </c:pt>
                <c:pt idx="221">
                  <c:v>0</c:v>
                </c:pt>
                <c:pt idx="222">
                  <c:v>0.96364179507100001</c:v>
                </c:pt>
                <c:pt idx="223">
                  <c:v>0.96352109147599996</c:v>
                </c:pt>
                <c:pt idx="224">
                  <c:v>0.96340969960800005</c:v>
                </c:pt>
                <c:pt idx="225">
                  <c:v>1.9265966669870001</c:v>
                </c:pt>
                <c:pt idx="226">
                  <c:v>0.96319627050400003</c:v>
                </c:pt>
                <c:pt idx="227">
                  <c:v>5.7783984205710004</c:v>
                </c:pt>
                <c:pt idx="228">
                  <c:v>0.96296438957599995</c:v>
                </c:pt>
                <c:pt idx="229">
                  <c:v>0.96284385561100005</c:v>
                </c:pt>
                <c:pt idx="230">
                  <c:v>1.9254652405379999</c:v>
                </c:pt>
                <c:pt idx="231">
                  <c:v>3.8530448687069998</c:v>
                </c:pt>
                <c:pt idx="232">
                  <c:v>1.928138286077</c:v>
                </c:pt>
                <c:pt idx="233">
                  <c:v>1.9295148234970001</c:v>
                </c:pt>
                <c:pt idx="234">
                  <c:v>1.9323111407389999</c:v>
                </c:pt>
                <c:pt idx="235">
                  <c:v>3.86895837968</c:v>
                </c:pt>
                <c:pt idx="236">
                  <c:v>2.901887193971</c:v>
                </c:pt>
                <c:pt idx="237">
                  <c:v>2.9022802248290001</c:v>
                </c:pt>
                <c:pt idx="238">
                  <c:v>2.9072584552760001</c:v>
                </c:pt>
                <c:pt idx="239">
                  <c:v>4.8454777156470001</c:v>
                </c:pt>
                <c:pt idx="240">
                  <c:v>3.886476035017</c:v>
                </c:pt>
                <c:pt idx="241">
                  <c:v>7.7950676709310001</c:v>
                </c:pt>
                <c:pt idx="242">
                  <c:v>1.9591133053180001</c:v>
                </c:pt>
                <c:pt idx="243">
                  <c:v>1.9594204034439999</c:v>
                </c:pt>
                <c:pt idx="244">
                  <c:v>5.8793556226229997</c:v>
                </c:pt>
                <c:pt idx="245">
                  <c:v>5.9019102516180002</c:v>
                </c:pt>
                <c:pt idx="246">
                  <c:v>4.9386618201930004</c:v>
                </c:pt>
                <c:pt idx="247">
                  <c:v>3.9718396568330001</c:v>
                </c:pt>
                <c:pt idx="248">
                  <c:v>4.9892730629140001</c:v>
                </c:pt>
                <c:pt idx="249">
                  <c:v>6.047228857376</c:v>
                </c:pt>
                <c:pt idx="250">
                  <c:v>2.0175730613640002</c:v>
                </c:pt>
                <c:pt idx="251">
                  <c:v>2.0185301063760002</c:v>
                </c:pt>
                <c:pt idx="252">
                  <c:v>10.140856496739</c:v>
                </c:pt>
                <c:pt idx="253">
                  <c:v>12.233164107896</c:v>
                </c:pt>
                <c:pt idx="254">
                  <c:v>15.378148675941</c:v>
                </c:pt>
                <c:pt idx="255">
                  <c:v>10.324392409506</c:v>
                </c:pt>
                <c:pt idx="256">
                  <c:v>9.3790056169820009</c:v>
                </c:pt>
                <c:pt idx="257">
                  <c:v>6.2600421509500004</c:v>
                </c:pt>
                <c:pt idx="258">
                  <c:v>3.1319163151959999</c:v>
                </c:pt>
                <c:pt idx="259">
                  <c:v>15.747204871135001</c:v>
                </c:pt>
                <c:pt idx="260">
                  <c:v>11.620413898015</c:v>
                </c:pt>
                <c:pt idx="261">
                  <c:v>12.775471095496</c:v>
                </c:pt>
                <c:pt idx="262">
                  <c:v>29.020088350045999</c:v>
                </c:pt>
                <c:pt idx="263">
                  <c:v>17.417809710427999</c:v>
                </c:pt>
                <c:pt idx="264">
                  <c:v>25.083156115382</c:v>
                </c:pt>
                <c:pt idx="265">
                  <c:v>5.4586344680009997</c:v>
                </c:pt>
                <c:pt idx="266">
                  <c:v>42.919871900689998</c:v>
                </c:pt>
                <c:pt idx="267">
                  <c:v>43.316488032431003</c:v>
                </c:pt>
                <c:pt idx="268">
                  <c:v>43.879881636832003</c:v>
                </c:pt>
                <c:pt idx="269">
                  <c:v>20.285804444844999</c:v>
                </c:pt>
                <c:pt idx="270">
                  <c:v>45.513506132944002</c:v>
                </c:pt>
                <c:pt idx="271">
                  <c:v>31.907013845363998</c:v>
                </c:pt>
                <c:pt idx="272">
                  <c:v>22.822192299792</c:v>
                </c:pt>
                <c:pt idx="273">
                  <c:v>66.701167270427007</c:v>
                </c:pt>
                <c:pt idx="274">
                  <c:v>61.500615006149999</c:v>
                </c:pt>
                <c:pt idx="275">
                  <c:v>70.357297810714996</c:v>
                </c:pt>
                <c:pt idx="276">
                  <c:v>73.734034203077002</c:v>
                </c:pt>
                <c:pt idx="277">
                  <c:v>85.975151970162003</c:v>
                </c:pt>
                <c:pt idx="278">
                  <c:v>60.689186400766999</c:v>
                </c:pt>
                <c:pt idx="279">
                  <c:v>20.662161505177</c:v>
                </c:pt>
                <c:pt idx="280">
                  <c:v>78.479460453708995</c:v>
                </c:pt>
                <c:pt idx="281">
                  <c:v>99.007450310634994</c:v>
                </c:pt>
                <c:pt idx="282">
                  <c:v>110.074300152603</c:v>
                </c:pt>
                <c:pt idx="283">
                  <c:v>61.963353102592997</c:v>
                </c:pt>
                <c:pt idx="284">
                  <c:v>102.98528597726499</c:v>
                </c:pt>
                <c:pt idx="285">
                  <c:v>64.485342481653007</c:v>
                </c:pt>
                <c:pt idx="286">
                  <c:v>43.914031824756997</c:v>
                </c:pt>
                <c:pt idx="287">
                  <c:v>88.567037432597004</c:v>
                </c:pt>
                <c:pt idx="288">
                  <c:v>145.06514743893999</c:v>
                </c:pt>
                <c:pt idx="289">
                  <c:v>87.221979938944003</c:v>
                </c:pt>
                <c:pt idx="290">
                  <c:v>124.17550137527699</c:v>
                </c:pt>
                <c:pt idx="291">
                  <c:v>134.27734375</c:v>
                </c:pt>
                <c:pt idx="292">
                  <c:v>108.782855821922</c:v>
                </c:pt>
                <c:pt idx="293">
                  <c:v>68.067032413519996</c:v>
                </c:pt>
                <c:pt idx="294">
                  <c:v>126.319836333429</c:v>
                </c:pt>
                <c:pt idx="295">
                  <c:v>185.90455049944501</c:v>
                </c:pt>
                <c:pt idx="296">
                  <c:v>96.684695793515004</c:v>
                </c:pt>
                <c:pt idx="297">
                  <c:v>141.71130572797</c:v>
                </c:pt>
                <c:pt idx="298">
                  <c:v>148.800924588269</c:v>
                </c:pt>
                <c:pt idx="299">
                  <c:v>88.378899175613</c:v>
                </c:pt>
                <c:pt idx="300">
                  <c:v>66.822586034078995</c:v>
                </c:pt>
                <c:pt idx="301">
                  <c:v>143.697121658675</c:v>
                </c:pt>
                <c:pt idx="302">
                  <c:v>111.228106601017</c:v>
                </c:pt>
                <c:pt idx="303">
                  <c:v>113.913994933824</c:v>
                </c:pt>
                <c:pt idx="304">
                  <c:v>112.381733412304</c:v>
                </c:pt>
                <c:pt idx="305">
                  <c:v>107.40135419098701</c:v>
                </c:pt>
                <c:pt idx="306">
                  <c:v>73.399653303765007</c:v>
                </c:pt>
                <c:pt idx="307">
                  <c:v>42.266750156542997</c:v>
                </c:pt>
                <c:pt idx="308">
                  <c:v>132.88616085553301</c:v>
                </c:pt>
                <c:pt idx="309">
                  <c:v>113.73648378053601</c:v>
                </c:pt>
                <c:pt idx="310">
                  <c:v>92.616664500194005</c:v>
                </c:pt>
                <c:pt idx="311">
                  <c:v>95.471679478526994</c:v>
                </c:pt>
                <c:pt idx="312">
                  <c:v>90.866258329407003</c:v>
                </c:pt>
                <c:pt idx="313">
                  <c:v>55.787534021943003</c:v>
                </c:pt>
                <c:pt idx="314">
                  <c:v>59.346174715137998</c:v>
                </c:pt>
                <c:pt idx="315">
                  <c:v>68.517788930950999</c:v>
                </c:pt>
                <c:pt idx="316">
                  <c:v>90.029259509339994</c:v>
                </c:pt>
                <c:pt idx="317">
                  <c:v>62.991023779111003</c:v>
                </c:pt>
                <c:pt idx="318">
                  <c:v>46.102560465281002</c:v>
                </c:pt>
                <c:pt idx="319">
                  <c:v>57.707566904709999</c:v>
                </c:pt>
                <c:pt idx="320">
                  <c:v>39.797395079593997</c:v>
                </c:pt>
                <c:pt idx="321">
                  <c:v>27.195590688229</c:v>
                </c:pt>
                <c:pt idx="322">
                  <c:v>86.012847025235999</c:v>
                </c:pt>
                <c:pt idx="323">
                  <c:v>75.711410263511993</c:v>
                </c:pt>
                <c:pt idx="324">
                  <c:v>35.357388763793999</c:v>
                </c:pt>
                <c:pt idx="325">
                  <c:v>44.774448714599998</c:v>
                </c:pt>
                <c:pt idx="326">
                  <c:v>20.525834561772999</c:v>
                </c:pt>
                <c:pt idx="327">
                  <c:v>13.064332505925</c:v>
                </c:pt>
                <c:pt idx="328">
                  <c:v>22.403524821238001</c:v>
                </c:pt>
                <c:pt idx="329">
                  <c:v>60.192238963187997</c:v>
                </c:pt>
                <c:pt idx="330">
                  <c:v>85.358219996585007</c:v>
                </c:pt>
                <c:pt idx="331">
                  <c:v>26.817868362576998</c:v>
                </c:pt>
                <c:pt idx="332">
                  <c:v>52.139657036922003</c:v>
                </c:pt>
                <c:pt idx="333">
                  <c:v>44.491730341424997</c:v>
                </c:pt>
                <c:pt idx="334">
                  <c:v>11.615076369126999</c:v>
                </c:pt>
                <c:pt idx="335">
                  <c:v>29.094012452236999</c:v>
                </c:pt>
                <c:pt idx="336">
                  <c:v>80.274106705823996</c:v>
                </c:pt>
                <c:pt idx="337">
                  <c:v>65.368539904521995</c:v>
                </c:pt>
                <c:pt idx="338">
                  <c:v>42.082481664061</c:v>
                </c:pt>
                <c:pt idx="339">
                  <c:v>38.626522189920003</c:v>
                </c:pt>
                <c:pt idx="340">
                  <c:v>41.622442821169003</c:v>
                </c:pt>
                <c:pt idx="341">
                  <c:v>29.245874242740001</c:v>
                </c:pt>
                <c:pt idx="342">
                  <c:v>20.944601528955001</c:v>
                </c:pt>
                <c:pt idx="343">
                  <c:v>48.636075280185999</c:v>
                </c:pt>
                <c:pt idx="344">
                  <c:v>98.347337138946997</c:v>
                </c:pt>
                <c:pt idx="345">
                  <c:v>97.436341590161007</c:v>
                </c:pt>
                <c:pt idx="346">
                  <c:v>91.984231274638006</c:v>
                </c:pt>
                <c:pt idx="347">
                  <c:v>82.183869749671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666-4AA4-849E-83600EF90E58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Ukončené očkování - s posilující dávkou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70AD47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9</c:f>
              <c:numCache>
                <c:formatCode>m/d/yyyy</c:formatCode>
                <c:ptCount val="34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</c:numCache>
            </c:numRef>
          </c:cat>
          <c:val>
            <c:numRef>
              <c:f>List1!$D$2:$D$349</c:f>
              <c:numCache>
                <c:formatCode>General</c:formatCode>
                <c:ptCount val="348"/>
                <c:pt idx="226">
                  <c:v>0</c:v>
                </c:pt>
                <c:pt idx="228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16.874789065136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10.683760683759999</c:v>
                </c:pt>
                <c:pt idx="261">
                  <c:v>9.9098206322459994</c:v>
                </c:pt>
                <c:pt idx="262">
                  <c:v>0</c:v>
                </c:pt>
                <c:pt idx="263">
                  <c:v>0</c:v>
                </c:pt>
                <c:pt idx="264">
                  <c:v>8.1129320136290008</c:v>
                </c:pt>
                <c:pt idx="265">
                  <c:v>0</c:v>
                </c:pt>
                <c:pt idx="266">
                  <c:v>15.203344735841</c:v>
                </c:pt>
                <c:pt idx="267">
                  <c:v>0</c:v>
                </c:pt>
                <c:pt idx="268">
                  <c:v>6.6037112857420004</c:v>
                </c:pt>
                <c:pt idx="269">
                  <c:v>19.620667102681001</c:v>
                </c:pt>
                <c:pt idx="270">
                  <c:v>12.394645513138</c:v>
                </c:pt>
                <c:pt idx="271">
                  <c:v>24.589660047949</c:v>
                </c:pt>
                <c:pt idx="272">
                  <c:v>6.1016535481109999</c:v>
                </c:pt>
                <c:pt idx="273">
                  <c:v>41.01482392922</c:v>
                </c:pt>
                <c:pt idx="274">
                  <c:v>11.208877430925</c:v>
                </c:pt>
                <c:pt idx="275">
                  <c:v>10.671789125446001</c:v>
                </c:pt>
                <c:pt idx="276">
                  <c:v>15.050418903325999</c:v>
                </c:pt>
                <c:pt idx="277">
                  <c:v>27.990296697144</c:v>
                </c:pt>
                <c:pt idx="278">
                  <c:v>9.2464170134069992</c:v>
                </c:pt>
                <c:pt idx="279">
                  <c:v>9.1996320147190005</c:v>
                </c:pt>
                <c:pt idx="280">
                  <c:v>40.062319163142</c:v>
                </c:pt>
                <c:pt idx="281">
                  <c:v>47.389281406168998</c:v>
                </c:pt>
                <c:pt idx="282">
                  <c:v>37.395603939003003</c:v>
                </c:pt>
                <c:pt idx="283">
                  <c:v>20.053744034011</c:v>
                </c:pt>
                <c:pt idx="284">
                  <c:v>53.171287504746999</c:v>
                </c:pt>
                <c:pt idx="285">
                  <c:v>7.5548672232080003</c:v>
                </c:pt>
                <c:pt idx="286">
                  <c:v>7.5230393078800004</c:v>
                </c:pt>
                <c:pt idx="287">
                  <c:v>58.758721997796002</c:v>
                </c:pt>
                <c:pt idx="288">
                  <c:v>60.326472675655999</c:v>
                </c:pt>
                <c:pt idx="289">
                  <c:v>28.230644364457</c:v>
                </c:pt>
                <c:pt idx="290">
                  <c:v>24.045067326188001</c:v>
                </c:pt>
                <c:pt idx="291">
                  <c:v>46.23971991941</c:v>
                </c:pt>
                <c:pt idx="292">
                  <c:v>13.130683123789</c:v>
                </c:pt>
                <c:pt idx="293">
                  <c:v>26.190008511752001</c:v>
                </c:pt>
                <c:pt idx="294">
                  <c:v>51.329761637418997</c:v>
                </c:pt>
                <c:pt idx="295">
                  <c:v>50.123742990506997</c:v>
                </c:pt>
                <c:pt idx="296">
                  <c:v>30.642887785744001</c:v>
                </c:pt>
                <c:pt idx="297">
                  <c:v>68.794305027966004</c:v>
                </c:pt>
                <c:pt idx="298">
                  <c:v>37.379952843750999</c:v>
                </c:pt>
                <c:pt idx="299">
                  <c:v>25.731930466605</c:v>
                </c:pt>
                <c:pt idx="300">
                  <c:v>19.910686349801999</c:v>
                </c:pt>
                <c:pt idx="301">
                  <c:v>50.284948038887002</c:v>
                </c:pt>
                <c:pt idx="302">
                  <c:v>43.757691781757998</c:v>
                </c:pt>
                <c:pt idx="303">
                  <c:v>48.300104650225997</c:v>
                </c:pt>
                <c:pt idx="304">
                  <c:v>44.587824900987997</c:v>
                </c:pt>
                <c:pt idx="305">
                  <c:v>40.282987990633998</c:v>
                </c:pt>
                <c:pt idx="306">
                  <c:v>25.049472708599001</c:v>
                </c:pt>
                <c:pt idx="307">
                  <c:v>32.448083067092</c:v>
                </c:pt>
                <c:pt idx="308">
                  <c:v>39.290801041206002</c:v>
                </c:pt>
                <c:pt idx="309">
                  <c:v>38.555145907129997</c:v>
                </c:pt>
                <c:pt idx="310">
                  <c:v>37.761676618441001</c:v>
                </c:pt>
                <c:pt idx="311">
                  <c:v>39.393798952588</c:v>
                </c:pt>
                <c:pt idx="312">
                  <c:v>38.230597971529001</c:v>
                </c:pt>
                <c:pt idx="313">
                  <c:v>13.413216489313999</c:v>
                </c:pt>
                <c:pt idx="314">
                  <c:v>11.136105481191001</c:v>
                </c:pt>
                <c:pt idx="315">
                  <c:v>41.771094402673</c:v>
                </c:pt>
                <c:pt idx="316">
                  <c:v>43.387712599791001</c:v>
                </c:pt>
                <c:pt idx="317">
                  <c:v>32.124041632756999</c:v>
                </c:pt>
                <c:pt idx="318">
                  <c:v>18.971332209105999</c:v>
                </c:pt>
                <c:pt idx="319">
                  <c:v>33.075619134245002</c:v>
                </c:pt>
                <c:pt idx="320">
                  <c:v>10.301631778473</c:v>
                </c:pt>
                <c:pt idx="321">
                  <c:v>14.388489208633001</c:v>
                </c:pt>
                <c:pt idx="322">
                  <c:v>24.413565804731999</c:v>
                </c:pt>
                <c:pt idx="323">
                  <c:v>34.251405315012001</c:v>
                </c:pt>
                <c:pt idx="324">
                  <c:v>11.990647295109</c:v>
                </c:pt>
                <c:pt idx="325">
                  <c:v>21.928075911011</c:v>
                </c:pt>
                <c:pt idx="326">
                  <c:v>3.9867639437059998</c:v>
                </c:pt>
                <c:pt idx="327">
                  <c:v>1.9933819718529999</c:v>
                </c:pt>
                <c:pt idx="328">
                  <c:v>5.9791924104109997</c:v>
                </c:pt>
                <c:pt idx="329">
                  <c:v>35.598449489754998</c:v>
                </c:pt>
                <c:pt idx="330">
                  <c:v>21.569473312677999</c:v>
                </c:pt>
                <c:pt idx="331">
                  <c:v>25.241248082635</c:v>
                </c:pt>
                <c:pt idx="332">
                  <c:v>11.557798624621</c:v>
                </c:pt>
                <c:pt idx="333">
                  <c:v>17.310022503029</c:v>
                </c:pt>
                <c:pt idx="334">
                  <c:v>5.7696745903529996</c:v>
                </c:pt>
                <c:pt idx="335">
                  <c:v>23.049441051054</c:v>
                </c:pt>
                <c:pt idx="336">
                  <c:v>64.749571510188005</c:v>
                </c:pt>
                <c:pt idx="337">
                  <c:v>47.110256845119999</c:v>
                </c:pt>
                <c:pt idx="338">
                  <c:v>29.842951467900001</c:v>
                </c:pt>
                <c:pt idx="339">
                  <c:v>38.679019394765</c:v>
                </c:pt>
                <c:pt idx="340">
                  <c:v>50.544253298915002</c:v>
                </c:pt>
                <c:pt idx="341">
                  <c:v>18.004068919575001</c:v>
                </c:pt>
                <c:pt idx="342">
                  <c:v>21.569543804148001</c:v>
                </c:pt>
                <c:pt idx="343">
                  <c:v>49.950941040049003</c:v>
                </c:pt>
                <c:pt idx="344">
                  <c:v>63.673989175420999</c:v>
                </c:pt>
                <c:pt idx="345">
                  <c:v>71.813914383801006</c:v>
                </c:pt>
                <c:pt idx="346">
                  <c:v>62.519537355422997</c:v>
                </c:pt>
                <c:pt idx="347">
                  <c:v>68.74387749841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666-4AA4-849E-83600EF90E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5679636904293355"/>
          <c:h val="0.80623174724366597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9</c:f>
              <c:numCache>
                <c:formatCode>m/d/yyyy</c:formatCode>
                <c:ptCount val="34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</c:numCache>
            </c:numRef>
          </c:cat>
          <c:val>
            <c:numRef>
              <c:f>List1!$B$2:$B$349</c:f>
              <c:numCache>
                <c:formatCode>General</c:formatCode>
                <c:ptCount val="348"/>
                <c:pt idx="0">
                  <c:v>109.967880668517</c:v>
                </c:pt>
                <c:pt idx="1">
                  <c:v>142.31135535145401</c:v>
                </c:pt>
                <c:pt idx="2">
                  <c:v>146.34522067318801</c:v>
                </c:pt>
                <c:pt idx="3">
                  <c:v>87.203205545681996</c:v>
                </c:pt>
                <c:pt idx="4">
                  <c:v>111.72319196477901</c:v>
                </c:pt>
                <c:pt idx="5">
                  <c:v>50.986477499445002</c:v>
                </c:pt>
                <c:pt idx="6">
                  <c:v>42.207215212367998</c:v>
                </c:pt>
                <c:pt idx="7">
                  <c:v>139.71944335773699</c:v>
                </c:pt>
                <c:pt idx="8">
                  <c:v>165.98728559975601</c:v>
                </c:pt>
                <c:pt idx="9">
                  <c:v>146.55705420320999</c:v>
                </c:pt>
                <c:pt idx="10">
                  <c:v>115.147074217523</c:v>
                </c:pt>
                <c:pt idx="11">
                  <c:v>119.743440786275</c:v>
                </c:pt>
                <c:pt idx="12">
                  <c:v>60.605340399995001</c:v>
                </c:pt>
                <c:pt idx="13">
                  <c:v>26.207948155913002</c:v>
                </c:pt>
                <c:pt idx="14">
                  <c:v>143.15350180154999</c:v>
                </c:pt>
                <c:pt idx="15">
                  <c:v>145.36147796593301</c:v>
                </c:pt>
                <c:pt idx="16">
                  <c:v>160.476845483723</c:v>
                </c:pt>
                <c:pt idx="17">
                  <c:v>161.78485224085</c:v>
                </c:pt>
                <c:pt idx="18">
                  <c:v>138.25742468958501</c:v>
                </c:pt>
                <c:pt idx="19">
                  <c:v>73.269832811563006</c:v>
                </c:pt>
                <c:pt idx="20">
                  <c:v>40.06945371978</c:v>
                </c:pt>
                <c:pt idx="21">
                  <c:v>158.89398918977599</c:v>
                </c:pt>
                <c:pt idx="22">
                  <c:v>198.371698970946</c:v>
                </c:pt>
                <c:pt idx="23">
                  <c:v>187.16129392703499</c:v>
                </c:pt>
                <c:pt idx="24">
                  <c:v>197.87146834763101</c:v>
                </c:pt>
                <c:pt idx="25">
                  <c:v>190.14124778406801</c:v>
                </c:pt>
                <c:pt idx="26">
                  <c:v>103.063269395934</c:v>
                </c:pt>
                <c:pt idx="27">
                  <c:v>41.528239202656998</c:v>
                </c:pt>
                <c:pt idx="28">
                  <c:v>213.65670564457901</c:v>
                </c:pt>
                <c:pt idx="29">
                  <c:v>226.698055628215</c:v>
                </c:pt>
                <c:pt idx="30">
                  <c:v>226.333542631017</c:v>
                </c:pt>
                <c:pt idx="31">
                  <c:v>207.060620300751</c:v>
                </c:pt>
                <c:pt idx="32">
                  <c:v>181.592700859243</c:v>
                </c:pt>
                <c:pt idx="33">
                  <c:v>90.066146940703007</c:v>
                </c:pt>
                <c:pt idx="34">
                  <c:v>39.864166543628997</c:v>
                </c:pt>
                <c:pt idx="35">
                  <c:v>155.62933538862799</c:v>
                </c:pt>
                <c:pt idx="36">
                  <c:v>196.45488235031399</c:v>
                </c:pt>
                <c:pt idx="37">
                  <c:v>176.22724353708901</c:v>
                </c:pt>
                <c:pt idx="38">
                  <c:v>148.50816794923699</c:v>
                </c:pt>
                <c:pt idx="39">
                  <c:v>183.754311448496</c:v>
                </c:pt>
                <c:pt idx="40">
                  <c:v>87.354659919271995</c:v>
                </c:pt>
                <c:pt idx="41">
                  <c:v>42.174391107227997</c:v>
                </c:pt>
                <c:pt idx="42">
                  <c:v>138.96441302640301</c:v>
                </c:pt>
                <c:pt idx="43">
                  <c:v>178.75808577358299</c:v>
                </c:pt>
                <c:pt idx="44">
                  <c:v>136.80930303260601</c:v>
                </c:pt>
                <c:pt idx="45">
                  <c:v>121.923340699535</c:v>
                </c:pt>
                <c:pt idx="46">
                  <c:v>100.959111559818</c:v>
                </c:pt>
                <c:pt idx="47">
                  <c:v>38.235653982625003</c:v>
                </c:pt>
                <c:pt idx="48">
                  <c:v>26.000244708185001</c:v>
                </c:pt>
                <c:pt idx="49">
                  <c:v>124.420140702282</c:v>
                </c:pt>
                <c:pt idx="50">
                  <c:v>106.451911506063</c:v>
                </c:pt>
                <c:pt idx="51">
                  <c:v>89.894606323619996</c:v>
                </c:pt>
                <c:pt idx="52">
                  <c:v>96.790308480079005</c:v>
                </c:pt>
                <c:pt idx="53">
                  <c:v>88.114044749347002</c:v>
                </c:pt>
                <c:pt idx="54">
                  <c:v>28.343332231091999</c:v>
                </c:pt>
                <c:pt idx="55">
                  <c:v>11.033526157338001</c:v>
                </c:pt>
                <c:pt idx="56">
                  <c:v>98.635018613382002</c:v>
                </c:pt>
                <c:pt idx="57">
                  <c:v>117.21635248402301</c:v>
                </c:pt>
                <c:pt idx="58">
                  <c:v>90.935663018414004</c:v>
                </c:pt>
                <c:pt idx="59">
                  <c:v>50.86386532561</c:v>
                </c:pt>
                <c:pt idx="60">
                  <c:v>31.610294973963001</c:v>
                </c:pt>
                <c:pt idx="61">
                  <c:v>13.330667199893</c:v>
                </c:pt>
                <c:pt idx="62">
                  <c:v>26.688462244166001</c:v>
                </c:pt>
                <c:pt idx="63">
                  <c:v>15.197055148424001</c:v>
                </c:pt>
                <c:pt idx="64">
                  <c:v>82.104614963565993</c:v>
                </c:pt>
                <c:pt idx="65">
                  <c:v>69.352937096885995</c:v>
                </c:pt>
                <c:pt idx="66">
                  <c:v>73.807222563921997</c:v>
                </c:pt>
                <c:pt idx="67">
                  <c:v>59.005489298549001</c:v>
                </c:pt>
                <c:pt idx="68">
                  <c:v>23.297073529148001</c:v>
                </c:pt>
                <c:pt idx="69">
                  <c:v>7.1748878923759998</c:v>
                </c:pt>
                <c:pt idx="70">
                  <c:v>47.263274617802999</c:v>
                </c:pt>
                <c:pt idx="71">
                  <c:v>55.249636273226997</c:v>
                </c:pt>
                <c:pt idx="72">
                  <c:v>44.863167339614002</c:v>
                </c:pt>
                <c:pt idx="73">
                  <c:v>30.449510904731</c:v>
                </c:pt>
                <c:pt idx="74">
                  <c:v>36.369901035585002</c:v>
                </c:pt>
                <c:pt idx="75">
                  <c:v>13.448865492132001</c:v>
                </c:pt>
                <c:pt idx="76">
                  <c:v>7.7037151166140001</c:v>
                </c:pt>
                <c:pt idx="77">
                  <c:v>44.389547226617999</c:v>
                </c:pt>
                <c:pt idx="78">
                  <c:v>43.204179022406997</c:v>
                </c:pt>
                <c:pt idx="79">
                  <c:v>51.675477998170997</c:v>
                </c:pt>
                <c:pt idx="80">
                  <c:v>20.177155424628001</c:v>
                </c:pt>
                <c:pt idx="81">
                  <c:v>28.756290438533</c:v>
                </c:pt>
                <c:pt idx="82">
                  <c:v>8.2748919092239994</c:v>
                </c:pt>
                <c:pt idx="83">
                  <c:v>4.1501525181050001</c:v>
                </c:pt>
                <c:pt idx="84">
                  <c:v>25.128258821065</c:v>
                </c:pt>
                <c:pt idx="85">
                  <c:v>33.879642569769999</c:v>
                </c:pt>
                <c:pt idx="86">
                  <c:v>23.564190998478999</c:v>
                </c:pt>
                <c:pt idx="87">
                  <c:v>43.306916114502997</c:v>
                </c:pt>
                <c:pt idx="88">
                  <c:v>35.102345275443</c:v>
                </c:pt>
                <c:pt idx="89">
                  <c:v>13.190291945127999</c:v>
                </c:pt>
                <c:pt idx="90">
                  <c:v>8.8121254846659998</c:v>
                </c:pt>
                <c:pt idx="91">
                  <c:v>22.170491076377001</c:v>
                </c:pt>
                <c:pt idx="92">
                  <c:v>31.237449239143999</c:v>
                </c:pt>
                <c:pt idx="93">
                  <c:v>24.691912276368999</c:v>
                </c:pt>
                <c:pt idx="94">
                  <c:v>29.349347541427001</c:v>
                </c:pt>
                <c:pt idx="95">
                  <c:v>29.527335498671</c:v>
                </c:pt>
                <c:pt idx="96">
                  <c:v>9.1031155412940006</c:v>
                </c:pt>
                <c:pt idx="97">
                  <c:v>4.5586123583980003</c:v>
                </c:pt>
                <c:pt idx="98">
                  <c:v>16.003657978966</c:v>
                </c:pt>
                <c:pt idx="99">
                  <c:v>29.853488265282</c:v>
                </c:pt>
                <c:pt idx="100">
                  <c:v>11.543878281347</c:v>
                </c:pt>
                <c:pt idx="101">
                  <c:v>23.184104977627001</c:v>
                </c:pt>
                <c:pt idx="102">
                  <c:v>18.614174694029</c:v>
                </c:pt>
                <c:pt idx="103">
                  <c:v>11.641985657073</c:v>
                </c:pt>
                <c:pt idx="104">
                  <c:v>4.6607009694250001</c:v>
                </c:pt>
                <c:pt idx="105">
                  <c:v>9.3420837517800006</c:v>
                </c:pt>
                <c:pt idx="106">
                  <c:v>11.701106924715001</c:v>
                </c:pt>
                <c:pt idx="107">
                  <c:v>4.6913116907479999</c:v>
                </c:pt>
                <c:pt idx="108">
                  <c:v>14.109679239958</c:v>
                </c:pt>
                <c:pt idx="109">
                  <c:v>9.4386370608080004</c:v>
                </c:pt>
                <c:pt idx="110">
                  <c:v>2.360773389362</c:v>
                </c:pt>
                <c:pt idx="111">
                  <c:v>0</c:v>
                </c:pt>
                <c:pt idx="112">
                  <c:v>9.4701453667309998</c:v>
                </c:pt>
                <c:pt idx="113">
                  <c:v>0</c:v>
                </c:pt>
                <c:pt idx="114">
                  <c:v>11.899378852423</c:v>
                </c:pt>
                <c:pt idx="115">
                  <c:v>0</c:v>
                </c:pt>
                <c:pt idx="116">
                  <c:v>2.3957834211779998</c:v>
                </c:pt>
                <c:pt idx="117">
                  <c:v>2.4087098949799999</c:v>
                </c:pt>
                <c:pt idx="118">
                  <c:v>0</c:v>
                </c:pt>
                <c:pt idx="119">
                  <c:v>2.4199012680280001</c:v>
                </c:pt>
                <c:pt idx="120">
                  <c:v>2.438072947142</c:v>
                </c:pt>
                <c:pt idx="121">
                  <c:v>2.453205112479</c:v>
                </c:pt>
                <c:pt idx="122">
                  <c:v>2.4777006937560002</c:v>
                </c:pt>
                <c:pt idx="123">
                  <c:v>4.994131895023</c:v>
                </c:pt>
                <c:pt idx="124">
                  <c:v>2.5025651292569999</c:v>
                </c:pt>
                <c:pt idx="125">
                  <c:v>0</c:v>
                </c:pt>
                <c:pt idx="126">
                  <c:v>2.5239140859639999</c:v>
                </c:pt>
                <c:pt idx="127">
                  <c:v>2.5420066600569999</c:v>
                </c:pt>
                <c:pt idx="128">
                  <c:v>5.1204587931069998</c:v>
                </c:pt>
                <c:pt idx="129">
                  <c:v>2.5826446280990001</c:v>
                </c:pt>
                <c:pt idx="131">
                  <c:v>2.6171844329859999</c:v>
                </c:pt>
                <c:pt idx="132">
                  <c:v>0</c:v>
                </c:pt>
                <c:pt idx="133">
                  <c:v>0</c:v>
                </c:pt>
                <c:pt idx="135">
                  <c:v>2.6787388497490001</c:v>
                </c:pt>
                <c:pt idx="136">
                  <c:v>5.3975279322069998</c:v>
                </c:pt>
                <c:pt idx="137">
                  <c:v>0</c:v>
                </c:pt>
                <c:pt idx="138">
                  <c:v>2.7328377787489999</c:v>
                </c:pt>
                <c:pt idx="139">
                  <c:v>2.7379257474530001</c:v>
                </c:pt>
                <c:pt idx="141">
                  <c:v>2.7687025859680001</c:v>
                </c:pt>
                <c:pt idx="142">
                  <c:v>5.5699445790509996</c:v>
                </c:pt>
                <c:pt idx="143">
                  <c:v>5.6078959174509997</c:v>
                </c:pt>
                <c:pt idx="145">
                  <c:v>2.8384093553969998</c:v>
                </c:pt>
                <c:pt idx="146">
                  <c:v>5.6873116078020001</c:v>
                </c:pt>
                <c:pt idx="147">
                  <c:v>0</c:v>
                </c:pt>
                <c:pt idx="148">
                  <c:v>2.8800184321170001</c:v>
                </c:pt>
                <c:pt idx="150">
                  <c:v>0</c:v>
                </c:pt>
                <c:pt idx="151">
                  <c:v>2.9439472444649999</c:v>
                </c:pt>
                <c:pt idx="153">
                  <c:v>0</c:v>
                </c:pt>
                <c:pt idx="154">
                  <c:v>0</c:v>
                </c:pt>
                <c:pt idx="155">
                  <c:v>2.9975120649860001</c:v>
                </c:pt>
                <c:pt idx="156">
                  <c:v>0</c:v>
                </c:pt>
                <c:pt idx="157">
                  <c:v>3.0419176248699999</c:v>
                </c:pt>
                <c:pt idx="158">
                  <c:v>12.277094011847</c:v>
                </c:pt>
                <c:pt idx="159">
                  <c:v>0</c:v>
                </c:pt>
                <c:pt idx="161">
                  <c:v>3.1042403923749999</c:v>
                </c:pt>
                <c:pt idx="162">
                  <c:v>0</c:v>
                </c:pt>
                <c:pt idx="163">
                  <c:v>6.3004032258059999</c:v>
                </c:pt>
                <c:pt idx="164">
                  <c:v>3.1766200762380001</c:v>
                </c:pt>
                <c:pt idx="165">
                  <c:v>9.6098404766479995</c:v>
                </c:pt>
                <c:pt idx="166">
                  <c:v>3.2114069173700002</c:v>
                </c:pt>
                <c:pt idx="167">
                  <c:v>3.21636486443</c:v>
                </c:pt>
                <c:pt idx="168">
                  <c:v>6.4432989690719999</c:v>
                </c:pt>
                <c:pt idx="169">
                  <c:v>6.4557779212390001</c:v>
                </c:pt>
                <c:pt idx="170">
                  <c:v>3.2510809844269999</c:v>
                </c:pt>
                <c:pt idx="171">
                  <c:v>6.5470734581640002</c:v>
                </c:pt>
                <c:pt idx="172">
                  <c:v>3.2963048422710002</c:v>
                </c:pt>
                <c:pt idx="173">
                  <c:v>0</c:v>
                </c:pt>
                <c:pt idx="174">
                  <c:v>6.6201052596730001</c:v>
                </c:pt>
                <c:pt idx="175">
                  <c:v>6.6602284458350001</c:v>
                </c:pt>
                <c:pt idx="176">
                  <c:v>3.3488496701380002</c:v>
                </c:pt>
                <c:pt idx="177">
                  <c:v>0</c:v>
                </c:pt>
                <c:pt idx="178">
                  <c:v>10.191948360793999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3.499930001399</c:v>
                </c:pt>
                <c:pt idx="184">
                  <c:v>7.0551714406660002</c:v>
                </c:pt>
                <c:pt idx="185">
                  <c:v>0</c:v>
                </c:pt>
                <c:pt idx="186">
                  <c:v>7.1658903618769996</c:v>
                </c:pt>
                <c:pt idx="187">
                  <c:v>3.5972516997009998</c:v>
                </c:pt>
                <c:pt idx="188">
                  <c:v>0</c:v>
                </c:pt>
                <c:pt idx="189">
                  <c:v>21.775422806125999</c:v>
                </c:pt>
                <c:pt idx="190">
                  <c:v>0</c:v>
                </c:pt>
                <c:pt idx="191">
                  <c:v>0</c:v>
                </c:pt>
                <c:pt idx="192">
                  <c:v>7.4112502779209999</c:v>
                </c:pt>
                <c:pt idx="193">
                  <c:v>18.645584725536001</c:v>
                </c:pt>
                <c:pt idx="194">
                  <c:v>7.4771945566019999</c:v>
                </c:pt>
                <c:pt idx="195">
                  <c:v>3.7482664267770001</c:v>
                </c:pt>
                <c:pt idx="196">
                  <c:v>0</c:v>
                </c:pt>
                <c:pt idx="197">
                  <c:v>3.7910379862000001</c:v>
                </c:pt>
                <c:pt idx="198">
                  <c:v>3.8141734686089999</c:v>
                </c:pt>
                <c:pt idx="199">
                  <c:v>0</c:v>
                </c:pt>
                <c:pt idx="200">
                  <c:v>7.7285725326529997</c:v>
                </c:pt>
                <c:pt idx="201">
                  <c:v>3.8767202946300001</c:v>
                </c:pt>
                <c:pt idx="202">
                  <c:v>3.8856077090449999</c:v>
                </c:pt>
                <c:pt idx="203">
                  <c:v>0</c:v>
                </c:pt>
                <c:pt idx="204">
                  <c:v>7.8827053444740001</c:v>
                </c:pt>
                <c:pt idx="205">
                  <c:v>7.9383980312769999</c:v>
                </c:pt>
                <c:pt idx="206">
                  <c:v>7.9830758791359999</c:v>
                </c:pt>
                <c:pt idx="207">
                  <c:v>4.023011626503</c:v>
                </c:pt>
                <c:pt idx="208">
                  <c:v>0</c:v>
                </c:pt>
                <c:pt idx="209">
                  <c:v>4.0387722132470003</c:v>
                </c:pt>
                <c:pt idx="210">
                  <c:v>0</c:v>
                </c:pt>
                <c:pt idx="211">
                  <c:v>4.0866366979970001</c:v>
                </c:pt>
                <c:pt idx="212">
                  <c:v>4.1121802779829997</c:v>
                </c:pt>
                <c:pt idx="213">
                  <c:v>12.404895798875</c:v>
                </c:pt>
                <c:pt idx="214">
                  <c:v>12.506253126562999</c:v>
                </c:pt>
                <c:pt idx="215">
                  <c:v>16.717515777155</c:v>
                </c:pt>
                <c:pt idx="216">
                  <c:v>4.1865527924299997</c:v>
                </c:pt>
                <c:pt idx="217">
                  <c:v>12.645955401929999</c:v>
                </c:pt>
                <c:pt idx="218">
                  <c:v>8.4770906624840006</c:v>
                </c:pt>
                <c:pt idx="219">
                  <c:v>4.2616663115269997</c:v>
                </c:pt>
                <c:pt idx="220">
                  <c:v>4.2799058420709999</c:v>
                </c:pt>
                <c:pt idx="221">
                  <c:v>4.3047783039169998</c:v>
                </c:pt>
                <c:pt idx="222">
                  <c:v>0</c:v>
                </c:pt>
                <c:pt idx="223">
                  <c:v>4.3170436884820003</c:v>
                </c:pt>
                <c:pt idx="224">
                  <c:v>0</c:v>
                </c:pt>
                <c:pt idx="225">
                  <c:v>0</c:v>
                </c:pt>
                <c:pt idx="226">
                  <c:v>4.3624307464110004</c:v>
                </c:pt>
                <c:pt idx="227">
                  <c:v>17.501640778822999</c:v>
                </c:pt>
                <c:pt idx="228">
                  <c:v>13.168290755858999</c:v>
                </c:pt>
                <c:pt idx="229">
                  <c:v>0</c:v>
                </c:pt>
                <c:pt idx="230">
                  <c:v>21.980920560952999</c:v>
                </c:pt>
                <c:pt idx="231">
                  <c:v>17.635906706052999</c:v>
                </c:pt>
                <c:pt idx="232">
                  <c:v>13.254396041353001</c:v>
                </c:pt>
                <c:pt idx="233">
                  <c:v>13.28080038957</c:v>
                </c:pt>
                <c:pt idx="234">
                  <c:v>13.307310149040999</c:v>
                </c:pt>
                <c:pt idx="235">
                  <c:v>22.245951236873999</c:v>
                </c:pt>
                <c:pt idx="236">
                  <c:v>13.356484573259999</c:v>
                </c:pt>
                <c:pt idx="237">
                  <c:v>8.9102735453970006</c:v>
                </c:pt>
                <c:pt idx="238">
                  <c:v>8.9281728494259998</c:v>
                </c:pt>
                <c:pt idx="239">
                  <c:v>17.890687896949</c:v>
                </c:pt>
                <c:pt idx="240">
                  <c:v>22.411474675032999</c:v>
                </c:pt>
                <c:pt idx="241">
                  <c:v>44.897409419475999</c:v>
                </c:pt>
                <c:pt idx="242">
                  <c:v>49.545086028284999</c:v>
                </c:pt>
                <c:pt idx="243">
                  <c:v>18.028575291837001</c:v>
                </c:pt>
                <c:pt idx="244">
                  <c:v>18.042399639151999</c:v>
                </c:pt>
                <c:pt idx="245">
                  <c:v>27.126000271260001</c:v>
                </c:pt>
                <c:pt idx="246">
                  <c:v>36.230243195507001</c:v>
                </c:pt>
                <c:pt idx="247">
                  <c:v>31.748911465892</c:v>
                </c:pt>
                <c:pt idx="248">
                  <c:v>27.262813522355</c:v>
                </c:pt>
                <c:pt idx="249">
                  <c:v>22.785271600437</c:v>
                </c:pt>
                <c:pt idx="250">
                  <c:v>18.244013683009999</c:v>
                </c:pt>
                <c:pt idx="251">
                  <c:v>13.693627898483999</c:v>
                </c:pt>
                <c:pt idx="252">
                  <c:v>45.735193231190998</c:v>
                </c:pt>
                <c:pt idx="253">
                  <c:v>82.364784478812993</c:v>
                </c:pt>
                <c:pt idx="254">
                  <c:v>32.093897574617998</c:v>
                </c:pt>
                <c:pt idx="255">
                  <c:v>45.955882352941003</c:v>
                </c:pt>
                <c:pt idx="256">
                  <c:v>13.814698839565001</c:v>
                </c:pt>
                <c:pt idx="257">
                  <c:v>23.041474654377001</c:v>
                </c:pt>
                <c:pt idx="258">
                  <c:v>27.665068240501</c:v>
                </c:pt>
                <c:pt idx="259">
                  <c:v>124.751651804278</c:v>
                </c:pt>
                <c:pt idx="260">
                  <c:v>97.186227323213004</c:v>
                </c:pt>
                <c:pt idx="261">
                  <c:v>125.14484356894501</c:v>
                </c:pt>
                <c:pt idx="262">
                  <c:v>129.94245405606</c:v>
                </c:pt>
                <c:pt idx="263">
                  <c:v>79.084480833642999</c:v>
                </c:pt>
                <c:pt idx="264">
                  <c:v>74.484428099249996</c:v>
                </c:pt>
                <c:pt idx="265">
                  <c:v>41.917004331423001</c:v>
                </c:pt>
                <c:pt idx="266">
                  <c:v>144.62327968276099</c:v>
                </c:pt>
                <c:pt idx="267">
                  <c:v>201.00032720983401</c:v>
                </c:pt>
                <c:pt idx="268">
                  <c:v>168.49988298619201</c:v>
                </c:pt>
                <c:pt idx="269">
                  <c:v>107.844516340788</c:v>
                </c:pt>
                <c:pt idx="270">
                  <c:v>187.97875840029999</c:v>
                </c:pt>
                <c:pt idx="271">
                  <c:v>136.380737396538</c:v>
                </c:pt>
                <c:pt idx="272">
                  <c:v>79.992471296819005</c:v>
                </c:pt>
                <c:pt idx="273">
                  <c:v>273.24978799585398</c:v>
                </c:pt>
                <c:pt idx="274">
                  <c:v>292.37008393850698</c:v>
                </c:pt>
                <c:pt idx="275">
                  <c:v>255.029753471238</c:v>
                </c:pt>
                <c:pt idx="276">
                  <c:v>260.31806134040102</c:v>
                </c:pt>
                <c:pt idx="277">
                  <c:v>270.475467400588</c:v>
                </c:pt>
                <c:pt idx="278">
                  <c:v>99.724570234590004</c:v>
                </c:pt>
                <c:pt idx="279">
                  <c:v>61.790009030847003</c:v>
                </c:pt>
                <c:pt idx="280">
                  <c:v>214.30612439279901</c:v>
                </c:pt>
                <c:pt idx="281">
                  <c:v>291.30850047755399</c:v>
                </c:pt>
                <c:pt idx="282">
                  <c:v>287.48023573379299</c:v>
                </c:pt>
                <c:pt idx="283">
                  <c:v>258.95554596460897</c:v>
                </c:pt>
                <c:pt idx="284">
                  <c:v>394.40142369294398</c:v>
                </c:pt>
                <c:pt idx="285">
                  <c:v>154.12031016712399</c:v>
                </c:pt>
                <c:pt idx="286">
                  <c:v>106.059875620691</c:v>
                </c:pt>
                <c:pt idx="287">
                  <c:v>328.756526783987</c:v>
                </c:pt>
                <c:pt idx="288">
                  <c:v>392.80345279084401</c:v>
                </c:pt>
                <c:pt idx="289">
                  <c:v>330.67496595992901</c:v>
                </c:pt>
                <c:pt idx="290">
                  <c:v>360.94039605892101</c:v>
                </c:pt>
                <c:pt idx="291">
                  <c:v>661.05180687493805</c:v>
                </c:pt>
                <c:pt idx="292">
                  <c:v>313.86395959001499</c:v>
                </c:pt>
                <c:pt idx="293">
                  <c:v>201.22699386503001</c:v>
                </c:pt>
                <c:pt idx="294">
                  <c:v>428.31823552579698</c:v>
                </c:pt>
                <c:pt idx="295">
                  <c:v>523.12095938409902</c:v>
                </c:pt>
                <c:pt idx="296">
                  <c:v>410.58619836754798</c:v>
                </c:pt>
                <c:pt idx="297">
                  <c:v>610.42183622828702</c:v>
                </c:pt>
                <c:pt idx="298">
                  <c:v>369.11412609736601</c:v>
                </c:pt>
                <c:pt idx="299">
                  <c:v>254.834357667516</c:v>
                </c:pt>
                <c:pt idx="300">
                  <c:v>165.10731975784199</c:v>
                </c:pt>
                <c:pt idx="301">
                  <c:v>487.65773465386297</c:v>
                </c:pt>
                <c:pt idx="302">
                  <c:v>520.30713275409096</c:v>
                </c:pt>
                <c:pt idx="303">
                  <c:v>379.34348287896398</c:v>
                </c:pt>
                <c:pt idx="304">
                  <c:v>325.20325203252003</c:v>
                </c:pt>
                <c:pt idx="305">
                  <c:v>312.26004607115402</c:v>
                </c:pt>
                <c:pt idx="306">
                  <c:v>235.76444057198501</c:v>
                </c:pt>
                <c:pt idx="307">
                  <c:v>107.73650728504001</c:v>
                </c:pt>
                <c:pt idx="308">
                  <c:v>417.84885220531299</c:v>
                </c:pt>
                <c:pt idx="309">
                  <c:v>393.802787709207</c:v>
                </c:pt>
                <c:pt idx="310">
                  <c:v>364.67830164105197</c:v>
                </c:pt>
                <c:pt idx="311">
                  <c:v>257.05592277830198</c:v>
                </c:pt>
                <c:pt idx="312">
                  <c:v>253.63276089828199</c:v>
                </c:pt>
                <c:pt idx="313">
                  <c:v>142.94790343074899</c:v>
                </c:pt>
                <c:pt idx="314">
                  <c:v>132.47840601981801</c:v>
                </c:pt>
                <c:pt idx="315">
                  <c:v>276.91979976568302</c:v>
                </c:pt>
                <c:pt idx="316">
                  <c:v>449.12580869379201</c:v>
                </c:pt>
                <c:pt idx="317">
                  <c:v>247.07272531958299</c:v>
                </c:pt>
                <c:pt idx="318">
                  <c:v>237.401532318981</c:v>
                </c:pt>
                <c:pt idx="319">
                  <c:v>249.95924577514501</c:v>
                </c:pt>
                <c:pt idx="320">
                  <c:v>146.97876973326001</c:v>
                </c:pt>
                <c:pt idx="321">
                  <c:v>108.962135657858</c:v>
                </c:pt>
                <c:pt idx="322">
                  <c:v>279.176702430479</c:v>
                </c:pt>
                <c:pt idx="323">
                  <c:v>242.090784044016</c:v>
                </c:pt>
                <c:pt idx="324">
                  <c:v>71.724137931033994</c:v>
                </c:pt>
                <c:pt idx="325">
                  <c:v>149.74211080916101</c:v>
                </c:pt>
                <c:pt idx="326">
                  <c:v>33.528918692372002</c:v>
                </c:pt>
                <c:pt idx="327">
                  <c:v>33.594624860022002</c:v>
                </c:pt>
                <c:pt idx="328">
                  <c:v>67.290977401446</c:v>
                </c:pt>
                <c:pt idx="329">
                  <c:v>129.540974373415</c:v>
                </c:pt>
                <c:pt idx="330">
                  <c:v>277.36895731914399</c:v>
                </c:pt>
                <c:pt idx="331">
                  <c:v>216.26543736839099</c:v>
                </c:pt>
                <c:pt idx="332">
                  <c:v>148.809523809523</c:v>
                </c:pt>
                <c:pt idx="333">
                  <c:v>207.720270036351</c:v>
                </c:pt>
                <c:pt idx="334">
                  <c:v>28.973749782696</c:v>
                </c:pt>
                <c:pt idx="335">
                  <c:v>46.498111014240003</c:v>
                </c:pt>
                <c:pt idx="336">
                  <c:v>169.78922716627599</c:v>
                </c:pt>
                <c:pt idx="337">
                  <c:v>159.17934205871899</c:v>
                </c:pt>
                <c:pt idx="338">
                  <c:v>172.06597840275299</c:v>
                </c:pt>
                <c:pt idx="339">
                  <c:v>196.615824594852</c:v>
                </c:pt>
                <c:pt idx="340">
                  <c:v>119.445771619684</c:v>
                </c:pt>
                <c:pt idx="341">
                  <c:v>29.934742261869001</c:v>
                </c:pt>
                <c:pt idx="342">
                  <c:v>24.008162775342999</c:v>
                </c:pt>
                <c:pt idx="343">
                  <c:v>157.01431245848099</c:v>
                </c:pt>
                <c:pt idx="344">
                  <c:v>230.84867262013199</c:v>
                </c:pt>
                <c:pt idx="345">
                  <c:v>152.615835419083</c:v>
                </c:pt>
                <c:pt idx="346">
                  <c:v>196.25881631401401</c:v>
                </c:pt>
                <c:pt idx="347">
                  <c:v>196.947316592811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B55-4851-8113-CB904A1C35CF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 - bez posilující dávky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9</c:f>
              <c:numCache>
                <c:formatCode>m/d/yyyy</c:formatCode>
                <c:ptCount val="34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</c:numCache>
            </c:numRef>
          </c:cat>
          <c:val>
            <c:numRef>
              <c:f>List1!$C$2:$C$349</c:f>
              <c:numCache>
                <c:formatCode>General</c:formatCode>
                <c:ptCount val="34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.1687034406480001</c:v>
                </c:pt>
                <c:pt idx="9">
                  <c:v>0</c:v>
                </c:pt>
                <c:pt idx="10">
                  <c:v>1.0845751719050001</c:v>
                </c:pt>
                <c:pt idx="11">
                  <c:v>1.0846810495370001</c:v>
                </c:pt>
                <c:pt idx="12">
                  <c:v>1.0847869478429999</c:v>
                </c:pt>
                <c:pt idx="13">
                  <c:v>0</c:v>
                </c:pt>
                <c:pt idx="14">
                  <c:v>1.0849988065009999</c:v>
                </c:pt>
                <c:pt idx="15">
                  <c:v>3.2553496245489999</c:v>
                </c:pt>
                <c:pt idx="16">
                  <c:v>0</c:v>
                </c:pt>
                <c:pt idx="17">
                  <c:v>4.3413141157819997</c:v>
                </c:pt>
                <c:pt idx="18">
                  <c:v>3.25630366117</c:v>
                </c:pt>
                <c:pt idx="19">
                  <c:v>2.1710811984360001</c:v>
                </c:pt>
                <c:pt idx="20">
                  <c:v>0</c:v>
                </c:pt>
                <c:pt idx="21">
                  <c:v>1.085764541101</c:v>
                </c:pt>
                <c:pt idx="22">
                  <c:v>7.6010945576160003</c:v>
                </c:pt>
                <c:pt idx="23">
                  <c:v>1.085976781816</c:v>
                </c:pt>
                <c:pt idx="24">
                  <c:v>4.3443317331709999</c:v>
                </c:pt>
                <c:pt idx="25">
                  <c:v>9.7758081334719993</c:v>
                </c:pt>
                <c:pt idx="26">
                  <c:v>3.2589212970500001</c:v>
                </c:pt>
                <c:pt idx="27">
                  <c:v>1.086413315081</c:v>
                </c:pt>
                <c:pt idx="28">
                  <c:v>2.1726614015829999</c:v>
                </c:pt>
                <c:pt idx="29">
                  <c:v>6.517488594394</c:v>
                </c:pt>
                <c:pt idx="30">
                  <c:v>8.6893240792030007</c:v>
                </c:pt>
                <c:pt idx="31">
                  <c:v>2.1719299769770002</c:v>
                </c:pt>
                <c:pt idx="32">
                  <c:v>2.1715526601519999</c:v>
                </c:pt>
                <c:pt idx="33">
                  <c:v>6.5135264232049996</c:v>
                </c:pt>
                <c:pt idx="34">
                  <c:v>1.085399209829</c:v>
                </c:pt>
                <c:pt idx="35">
                  <c:v>4.3407958849249999</c:v>
                </c:pt>
                <c:pt idx="36">
                  <c:v>2.170021157706</c:v>
                </c:pt>
                <c:pt idx="37">
                  <c:v>3.2544667556219999</c:v>
                </c:pt>
                <c:pt idx="38">
                  <c:v>6.5078039415589997</c:v>
                </c:pt>
                <c:pt idx="39">
                  <c:v>6.5066042032659999</c:v>
                </c:pt>
                <c:pt idx="40">
                  <c:v>1.084245906971</c:v>
                </c:pt>
                <c:pt idx="41">
                  <c:v>2.1681156906529999</c:v>
                </c:pt>
                <c:pt idx="42">
                  <c:v>8.6709587912679993</c:v>
                </c:pt>
                <c:pt idx="43">
                  <c:v>2.1673403482909999</c:v>
                </c:pt>
                <c:pt idx="44">
                  <c:v>0</c:v>
                </c:pt>
                <c:pt idx="45">
                  <c:v>6.4997670916789998</c:v>
                </c:pt>
                <c:pt idx="46">
                  <c:v>6.4986407009859999</c:v>
                </c:pt>
                <c:pt idx="47">
                  <c:v>1.0829073897599999</c:v>
                </c:pt>
                <c:pt idx="48">
                  <c:v>1.082719792117</c:v>
                </c:pt>
                <c:pt idx="49">
                  <c:v>4.3301290378450004</c:v>
                </c:pt>
                <c:pt idx="50">
                  <c:v>7.5764135422979999</c:v>
                </c:pt>
                <c:pt idx="51">
                  <c:v>6.4928740707069998</c:v>
                </c:pt>
                <c:pt idx="52">
                  <c:v>4.3278333784139997</c:v>
                </c:pt>
                <c:pt idx="53">
                  <c:v>0</c:v>
                </c:pt>
                <c:pt idx="54">
                  <c:v>1.081583871421</c:v>
                </c:pt>
                <c:pt idx="55">
                  <c:v>0</c:v>
                </c:pt>
                <c:pt idx="56">
                  <c:v>4.3247918693910004</c:v>
                </c:pt>
                <c:pt idx="57">
                  <c:v>5.4050548072550004</c:v>
                </c:pt>
                <c:pt idx="58">
                  <c:v>5.4040616927679999</c:v>
                </c:pt>
                <c:pt idx="59">
                  <c:v>2.160853969488</c:v>
                </c:pt>
                <c:pt idx="60">
                  <c:v>1.0800419056249999</c:v>
                </c:pt>
                <c:pt idx="61">
                  <c:v>3.2389713027139999</c:v>
                </c:pt>
                <c:pt idx="62">
                  <c:v>0</c:v>
                </c:pt>
                <c:pt idx="63">
                  <c:v>1.0788766736069999</c:v>
                </c:pt>
                <c:pt idx="64">
                  <c:v>1.078492698604</c:v>
                </c:pt>
                <c:pt idx="65">
                  <c:v>4.3124359872779996</c:v>
                </c:pt>
                <c:pt idx="66">
                  <c:v>2.1554279063249999</c:v>
                </c:pt>
                <c:pt idx="67">
                  <c:v>1.0773308051970001</c:v>
                </c:pt>
                <c:pt idx="68">
                  <c:v>2.1538958591349999</c:v>
                </c:pt>
                <c:pt idx="69">
                  <c:v>0</c:v>
                </c:pt>
                <c:pt idx="70">
                  <c:v>1.0761714125820001</c:v>
                </c:pt>
                <c:pt idx="71">
                  <c:v>2.151578720886</c:v>
                </c:pt>
                <c:pt idx="72">
                  <c:v>1.0754075794719999</c:v>
                </c:pt>
                <c:pt idx="73">
                  <c:v>3.2250782081459999</c:v>
                </c:pt>
                <c:pt idx="74">
                  <c:v>2.1492665627849998</c:v>
                </c:pt>
                <c:pt idx="75">
                  <c:v>2.1485046407700001</c:v>
                </c:pt>
                <c:pt idx="76">
                  <c:v>1.0738716293849999</c:v>
                </c:pt>
                <c:pt idx="77">
                  <c:v>3.2204736243209999</c:v>
                </c:pt>
                <c:pt idx="78">
                  <c:v>2.1461990814259999</c:v>
                </c:pt>
                <c:pt idx="79">
                  <c:v>2.145439332339</c:v>
                </c:pt>
                <c:pt idx="80">
                  <c:v>2.1446801209589998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4.2832514161489996</c:v>
                </c:pt>
                <c:pt idx="85">
                  <c:v>4.2817383857840001</c:v>
                </c:pt>
                <c:pt idx="86">
                  <c:v>2.140090311811</c:v>
                </c:pt>
                <c:pt idx="87">
                  <c:v>3.2090023211780001</c:v>
                </c:pt>
                <c:pt idx="88">
                  <c:v>1.069289991445</c:v>
                </c:pt>
                <c:pt idx="89">
                  <c:v>0</c:v>
                </c:pt>
                <c:pt idx="90">
                  <c:v>0</c:v>
                </c:pt>
                <c:pt idx="91">
                  <c:v>3.2073898261589999</c:v>
                </c:pt>
                <c:pt idx="92">
                  <c:v>3.2076298822789999</c:v>
                </c:pt>
                <c:pt idx="93">
                  <c:v>0</c:v>
                </c:pt>
                <c:pt idx="94">
                  <c:v>1.069358598712</c:v>
                </c:pt>
                <c:pt idx="95">
                  <c:v>2.138854429567</c:v>
                </c:pt>
                <c:pt idx="96">
                  <c:v>0</c:v>
                </c:pt>
                <c:pt idx="97">
                  <c:v>0</c:v>
                </c:pt>
                <c:pt idx="98">
                  <c:v>2.1393119972610002</c:v>
                </c:pt>
                <c:pt idx="99">
                  <c:v>2.13947219221</c:v>
                </c:pt>
                <c:pt idx="100">
                  <c:v>4.2792190425239998</c:v>
                </c:pt>
                <c:pt idx="101">
                  <c:v>1.0698848803859999</c:v>
                </c:pt>
                <c:pt idx="102">
                  <c:v>1.069953564015</c:v>
                </c:pt>
                <c:pt idx="103">
                  <c:v>0</c:v>
                </c:pt>
                <c:pt idx="104">
                  <c:v>1.0701024088</c:v>
                </c:pt>
                <c:pt idx="105">
                  <c:v>4.2807302925870001</c:v>
                </c:pt>
                <c:pt idx="106">
                  <c:v>2.1405025900079999</c:v>
                </c:pt>
                <c:pt idx="107">
                  <c:v>1.0703314816589999</c:v>
                </c:pt>
                <c:pt idx="108">
                  <c:v>2.1408004452860001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1.0707096663660001</c:v>
                </c:pt>
                <c:pt idx="113">
                  <c:v>0</c:v>
                </c:pt>
                <c:pt idx="114">
                  <c:v>1.0708587216080001</c:v>
                </c:pt>
                <c:pt idx="115">
                  <c:v>1.070927530334</c:v>
                </c:pt>
                <c:pt idx="116">
                  <c:v>1.071007818357</c:v>
                </c:pt>
                <c:pt idx="117">
                  <c:v>1.071076646244</c:v>
                </c:pt>
                <c:pt idx="118">
                  <c:v>0</c:v>
                </c:pt>
                <c:pt idx="119">
                  <c:v>1.0712258036869999</c:v>
                </c:pt>
                <c:pt idx="120">
                  <c:v>0</c:v>
                </c:pt>
                <c:pt idx="121">
                  <c:v>0</c:v>
                </c:pt>
                <c:pt idx="122">
                  <c:v>1.071294659596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1.0713635243570001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0</c:v>
                </c:pt>
                <c:pt idx="151">
                  <c:v>1.071662040658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1.0712028536839999</c:v>
                </c:pt>
                <c:pt idx="157">
                  <c:v>3.213333190518</c:v>
                </c:pt>
                <c:pt idx="158">
                  <c:v>0</c:v>
                </c:pt>
                <c:pt idx="159">
                  <c:v>0</c:v>
                </c:pt>
                <c:pt idx="161">
                  <c:v>2.1414881200939999</c:v>
                </c:pt>
                <c:pt idx="162">
                  <c:v>0</c:v>
                </c:pt>
                <c:pt idx="163">
                  <c:v>2.1411213052270002</c:v>
                </c:pt>
                <c:pt idx="164">
                  <c:v>1.0704689724559999</c:v>
                </c:pt>
                <c:pt idx="165">
                  <c:v>2.1407775303990002</c:v>
                </c:pt>
                <c:pt idx="166">
                  <c:v>0</c:v>
                </c:pt>
                <c:pt idx="167">
                  <c:v>0</c:v>
                </c:pt>
                <c:pt idx="168">
                  <c:v>2.1402277202289999</c:v>
                </c:pt>
                <c:pt idx="169">
                  <c:v>3.2100667693879998</c:v>
                </c:pt>
                <c:pt idx="170">
                  <c:v>0</c:v>
                </c:pt>
                <c:pt idx="171">
                  <c:v>1.0698390961990001</c:v>
                </c:pt>
                <c:pt idx="172">
                  <c:v>1.06974753958</c:v>
                </c:pt>
                <c:pt idx="173">
                  <c:v>0</c:v>
                </c:pt>
                <c:pt idx="174">
                  <c:v>0</c:v>
                </c:pt>
                <c:pt idx="175">
                  <c:v>1.069472963723</c:v>
                </c:pt>
                <c:pt idx="176">
                  <c:v>3.2081444092729998</c:v>
                </c:pt>
                <c:pt idx="177">
                  <c:v>1.069289991445</c:v>
                </c:pt>
                <c:pt idx="178">
                  <c:v>1.0691985287820001</c:v>
                </c:pt>
                <c:pt idx="179">
                  <c:v>1.0691070817649999</c:v>
                </c:pt>
                <c:pt idx="180">
                  <c:v>1.069015650389</c:v>
                </c:pt>
                <c:pt idx="181">
                  <c:v>1.0691870970499999</c:v>
                </c:pt>
                <c:pt idx="182">
                  <c:v>2.138717197424</c:v>
                </c:pt>
                <c:pt idx="183">
                  <c:v>3.2085904662079998</c:v>
                </c:pt>
                <c:pt idx="184">
                  <c:v>1.0697017671469999</c:v>
                </c:pt>
                <c:pt idx="185">
                  <c:v>1.069873433972</c:v>
                </c:pt>
                <c:pt idx="186">
                  <c:v>1.0700451559049999</c:v>
                </c:pt>
                <c:pt idx="187">
                  <c:v>0</c:v>
                </c:pt>
                <c:pt idx="188">
                  <c:v>0</c:v>
                </c:pt>
                <c:pt idx="189">
                  <c:v>2.1410983834700001</c:v>
                </c:pt>
                <c:pt idx="190">
                  <c:v>1.0707211306810001</c:v>
                </c:pt>
                <c:pt idx="191">
                  <c:v>1.0708931248660001</c:v>
                </c:pt>
                <c:pt idx="192">
                  <c:v>0</c:v>
                </c:pt>
                <c:pt idx="193">
                  <c:v>2.1424516073739999</c:v>
                </c:pt>
                <c:pt idx="194">
                  <c:v>0</c:v>
                </c:pt>
                <c:pt idx="195">
                  <c:v>0</c:v>
                </c:pt>
                <c:pt idx="196">
                  <c:v>1.071742438857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1.072420560446</c:v>
                </c:pt>
                <c:pt idx="201">
                  <c:v>1.0725931010809999</c:v>
                </c:pt>
                <c:pt idx="202">
                  <c:v>1.0727656972440001</c:v>
                </c:pt>
                <c:pt idx="203">
                  <c:v>1.0729383489619999</c:v>
                </c:pt>
                <c:pt idx="204">
                  <c:v>1.073111056263</c:v>
                </c:pt>
                <c:pt idx="205">
                  <c:v>3.2198168997450001</c:v>
                </c:pt>
                <c:pt idx="206">
                  <c:v>0</c:v>
                </c:pt>
                <c:pt idx="207">
                  <c:v>1.0736179852479999</c:v>
                </c:pt>
                <c:pt idx="208">
                  <c:v>0</c:v>
                </c:pt>
                <c:pt idx="209">
                  <c:v>0</c:v>
                </c:pt>
                <c:pt idx="210">
                  <c:v>1.074136930975</c:v>
                </c:pt>
                <c:pt idx="211">
                  <c:v>0</c:v>
                </c:pt>
                <c:pt idx="212">
                  <c:v>1.0743561920510001</c:v>
                </c:pt>
                <c:pt idx="213">
                  <c:v>2.1488278144269999</c:v>
                </c:pt>
                <c:pt idx="214">
                  <c:v>3.2233802514229999</c:v>
                </c:pt>
                <c:pt idx="215">
                  <c:v>1.0745178101320001</c:v>
                </c:pt>
                <c:pt idx="216">
                  <c:v>0</c:v>
                </c:pt>
                <c:pt idx="217">
                  <c:v>2.1492434662990001</c:v>
                </c:pt>
                <c:pt idx="218">
                  <c:v>2.1493358552199999</c:v>
                </c:pt>
                <c:pt idx="219">
                  <c:v>0</c:v>
                </c:pt>
                <c:pt idx="220">
                  <c:v>2.1495437593369999</c:v>
                </c:pt>
                <c:pt idx="221">
                  <c:v>1.0748296395020001</c:v>
                </c:pt>
                <c:pt idx="222">
                  <c:v>0</c:v>
                </c:pt>
                <c:pt idx="223">
                  <c:v>2.1498672456970001</c:v>
                </c:pt>
                <c:pt idx="224">
                  <c:v>2.1499596882550001</c:v>
                </c:pt>
                <c:pt idx="225">
                  <c:v>3.2251128789500001</c:v>
                </c:pt>
                <c:pt idx="226">
                  <c:v>4.3003354261629996</c:v>
                </c:pt>
                <c:pt idx="227">
                  <c:v>3.225424949737</c:v>
                </c:pt>
                <c:pt idx="228">
                  <c:v>1.0751994494970001</c:v>
                </c:pt>
                <c:pt idx="229">
                  <c:v>2.1504913872809999</c:v>
                </c:pt>
                <c:pt idx="230">
                  <c:v>1.0752919417619999</c:v>
                </c:pt>
                <c:pt idx="231">
                  <c:v>4.303666724048</c:v>
                </c:pt>
                <c:pt idx="232">
                  <c:v>6.4602265386099997</c:v>
                </c:pt>
                <c:pt idx="233">
                  <c:v>5.3873505010229996</c:v>
                </c:pt>
                <c:pt idx="234">
                  <c:v>4.3146687952359999</c:v>
                </c:pt>
                <c:pt idx="235">
                  <c:v>0</c:v>
                </c:pt>
                <c:pt idx="236">
                  <c:v>1.079563856202</c:v>
                </c:pt>
                <c:pt idx="237">
                  <c:v>0</c:v>
                </c:pt>
                <c:pt idx="238">
                  <c:v>5.4054054054050003</c:v>
                </c:pt>
                <c:pt idx="239">
                  <c:v>2.1624894578629998</c:v>
                </c:pt>
                <c:pt idx="240">
                  <c:v>4.3347276707339999</c:v>
                </c:pt>
                <c:pt idx="241">
                  <c:v>2.171529082203</c:v>
                </c:pt>
                <c:pt idx="242">
                  <c:v>0</c:v>
                </c:pt>
                <c:pt idx="243">
                  <c:v>0</c:v>
                </c:pt>
                <c:pt idx="244">
                  <c:v>3.2723940835110001</c:v>
                </c:pt>
                <c:pt idx="245">
                  <c:v>4.3773254541469999</c:v>
                </c:pt>
                <c:pt idx="246">
                  <c:v>4.3916953041789997</c:v>
                </c:pt>
                <c:pt idx="247">
                  <c:v>6.6141940604530003</c:v>
                </c:pt>
                <c:pt idx="248">
                  <c:v>11.061457457634001</c:v>
                </c:pt>
                <c:pt idx="249">
                  <c:v>5.5688589408029996</c:v>
                </c:pt>
                <c:pt idx="250">
                  <c:v>3.343363423604</c:v>
                </c:pt>
                <c:pt idx="251">
                  <c:v>2.2297041182630002</c:v>
                </c:pt>
                <c:pt idx="252">
                  <c:v>10.070493454178999</c:v>
                </c:pt>
                <c:pt idx="253">
                  <c:v>14.606085119769</c:v>
                </c:pt>
                <c:pt idx="254">
                  <c:v>12.413808669351999</c:v>
                </c:pt>
                <c:pt idx="255">
                  <c:v>10.203271849171999</c:v>
                </c:pt>
                <c:pt idx="256">
                  <c:v>12.551059994066</c:v>
                </c:pt>
                <c:pt idx="257">
                  <c:v>4.5685569070860002</c:v>
                </c:pt>
                <c:pt idx="258">
                  <c:v>7.9990858187629996</c:v>
                </c:pt>
                <c:pt idx="259">
                  <c:v>13.7748952534</c:v>
                </c:pt>
                <c:pt idx="260">
                  <c:v>39.217947978544998</c:v>
                </c:pt>
                <c:pt idx="261">
                  <c:v>26.707230692412999</c:v>
                </c:pt>
                <c:pt idx="262">
                  <c:v>30.435698733405999</c:v>
                </c:pt>
                <c:pt idx="263">
                  <c:v>33.148255573050001</c:v>
                </c:pt>
                <c:pt idx="264">
                  <c:v>14.232849416453</c:v>
                </c:pt>
                <c:pt idx="265">
                  <c:v>15.436313333412</c:v>
                </c:pt>
                <c:pt idx="266">
                  <c:v>57.430007178750003</c:v>
                </c:pt>
                <c:pt idx="267">
                  <c:v>49.439286144941001</c:v>
                </c:pt>
                <c:pt idx="268">
                  <c:v>31.761932102762</c:v>
                </c:pt>
                <c:pt idx="269">
                  <c:v>22.022389429253</c:v>
                </c:pt>
                <c:pt idx="270">
                  <c:v>49.362605358309999</c:v>
                </c:pt>
                <c:pt idx="271">
                  <c:v>29.661854854655999</c:v>
                </c:pt>
                <c:pt idx="272">
                  <c:v>29.703705537265002</c:v>
                </c:pt>
                <c:pt idx="273">
                  <c:v>92.207242006627993</c:v>
                </c:pt>
                <c:pt idx="274">
                  <c:v>79.108956891896</c:v>
                </c:pt>
                <c:pt idx="275">
                  <c:v>59.583423131045002</c:v>
                </c:pt>
                <c:pt idx="276">
                  <c:v>74.393309732697006</c:v>
                </c:pt>
                <c:pt idx="277">
                  <c:v>92.484043246059002</c:v>
                </c:pt>
                <c:pt idx="278">
                  <c:v>39.182905804294002</c:v>
                </c:pt>
                <c:pt idx="279">
                  <c:v>32.698117896333002</c:v>
                </c:pt>
                <c:pt idx="280">
                  <c:v>104.051419840893</c:v>
                </c:pt>
                <c:pt idx="281">
                  <c:v>107.51403655477201</c:v>
                </c:pt>
                <c:pt idx="282">
                  <c:v>105.902382133329</c:v>
                </c:pt>
                <c:pt idx="283">
                  <c:v>86.549644335055007</c:v>
                </c:pt>
                <c:pt idx="284">
                  <c:v>108.473273009378</c:v>
                </c:pt>
                <c:pt idx="285">
                  <c:v>81.153200737256</c:v>
                </c:pt>
                <c:pt idx="286">
                  <c:v>37.181376261756</c:v>
                </c:pt>
                <c:pt idx="287">
                  <c:v>115.074798619102</c:v>
                </c:pt>
                <c:pt idx="288">
                  <c:v>148.68845560387101</c:v>
                </c:pt>
                <c:pt idx="289">
                  <c:v>101.167643215444</c:v>
                </c:pt>
                <c:pt idx="290">
                  <c:v>117.59205474405999</c:v>
                </c:pt>
                <c:pt idx="291">
                  <c:v>149.288011024345</c:v>
                </c:pt>
                <c:pt idx="292">
                  <c:v>82.047443574389007</c:v>
                </c:pt>
                <c:pt idx="293">
                  <c:v>66.296750018015004</c:v>
                </c:pt>
                <c:pt idx="294">
                  <c:v>152.48772836852601</c:v>
                </c:pt>
                <c:pt idx="295">
                  <c:v>143.659205183458</c:v>
                </c:pt>
                <c:pt idx="296">
                  <c:v>137.53734212783499</c:v>
                </c:pt>
                <c:pt idx="297">
                  <c:v>186.67582622720599</c:v>
                </c:pt>
                <c:pt idx="298">
                  <c:v>109.4241553823</c:v>
                </c:pt>
                <c:pt idx="299">
                  <c:v>83.845297803253004</c:v>
                </c:pt>
                <c:pt idx="300">
                  <c:v>68.768433760715993</c:v>
                </c:pt>
                <c:pt idx="301">
                  <c:v>154.263852893989</c:v>
                </c:pt>
                <c:pt idx="302">
                  <c:v>126.185913913165</c:v>
                </c:pt>
                <c:pt idx="303">
                  <c:v>125.79011918613701</c:v>
                </c:pt>
                <c:pt idx="304">
                  <c:v>81.119770955939998</c:v>
                </c:pt>
                <c:pt idx="305">
                  <c:v>133.106079052024</c:v>
                </c:pt>
                <c:pt idx="306">
                  <c:v>74.949083503053998</c:v>
                </c:pt>
                <c:pt idx="307">
                  <c:v>60.42493426747</c:v>
                </c:pt>
                <c:pt idx="308">
                  <c:v>156.63643858202801</c:v>
                </c:pt>
                <c:pt idx="309">
                  <c:v>129.85931907100601</c:v>
                </c:pt>
                <c:pt idx="310">
                  <c:v>107.75136372819701</c:v>
                </c:pt>
                <c:pt idx="311">
                  <c:v>90.365040664267994</c:v>
                </c:pt>
                <c:pt idx="312">
                  <c:v>80</c:v>
                </c:pt>
                <c:pt idx="313">
                  <c:v>76.870665105959006</c:v>
                </c:pt>
                <c:pt idx="314">
                  <c:v>59.567609236483001</c:v>
                </c:pt>
                <c:pt idx="315">
                  <c:v>88.425148112122997</c:v>
                </c:pt>
                <c:pt idx="316">
                  <c:v>128.54617842923699</c:v>
                </c:pt>
                <c:pt idx="317">
                  <c:v>61.353014417958001</c:v>
                </c:pt>
                <c:pt idx="318">
                  <c:v>71.252397917237005</c:v>
                </c:pt>
                <c:pt idx="319">
                  <c:v>78.091590279456</c:v>
                </c:pt>
                <c:pt idx="320">
                  <c:v>52.267084803345</c:v>
                </c:pt>
                <c:pt idx="321">
                  <c:v>33.705971574629999</c:v>
                </c:pt>
                <c:pt idx="322">
                  <c:v>85.112821773750994</c:v>
                </c:pt>
                <c:pt idx="323">
                  <c:v>82.144153437637002</c:v>
                </c:pt>
                <c:pt idx="324">
                  <c:v>38.510417067816</c:v>
                </c:pt>
                <c:pt idx="325">
                  <c:v>83.128733543409993</c:v>
                </c:pt>
                <c:pt idx="326">
                  <c:v>23.201856148491</c:v>
                </c:pt>
                <c:pt idx="327">
                  <c:v>15.469399593927999</c:v>
                </c:pt>
                <c:pt idx="328">
                  <c:v>15.473289234458999</c:v>
                </c:pt>
                <c:pt idx="329">
                  <c:v>75.984880957019001</c:v>
                </c:pt>
                <c:pt idx="330">
                  <c:v>62.859724595830997</c:v>
                </c:pt>
                <c:pt idx="331">
                  <c:v>41.575925559295001</c:v>
                </c:pt>
                <c:pt idx="332">
                  <c:v>65.751459483152999</c:v>
                </c:pt>
                <c:pt idx="333">
                  <c:v>51.895171753058001</c:v>
                </c:pt>
                <c:pt idx="334">
                  <c:v>15.980823012385001</c:v>
                </c:pt>
                <c:pt idx="335">
                  <c:v>22.022903819972001</c:v>
                </c:pt>
                <c:pt idx="336">
                  <c:v>96.954027631897006</c:v>
                </c:pt>
                <c:pt idx="337">
                  <c:v>85.761542074204002</c:v>
                </c:pt>
                <c:pt idx="338">
                  <c:v>72.306579898769996</c:v>
                </c:pt>
                <c:pt idx="339">
                  <c:v>58.631376162156997</c:v>
                </c:pt>
                <c:pt idx="340">
                  <c:v>72.798903734155004</c:v>
                </c:pt>
                <c:pt idx="341">
                  <c:v>40.889233219273002</c:v>
                </c:pt>
                <c:pt idx="342">
                  <c:v>17.263330528042001</c:v>
                </c:pt>
                <c:pt idx="343">
                  <c:v>63.194595772499</c:v>
                </c:pt>
                <c:pt idx="344">
                  <c:v>92.433645847088002</c:v>
                </c:pt>
                <c:pt idx="345">
                  <c:v>100.213789417423</c:v>
                </c:pt>
                <c:pt idx="346">
                  <c:v>74.302569067614996</c:v>
                </c:pt>
                <c:pt idx="347">
                  <c:v>73.276849095488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B55-4851-8113-CB904A1C35CF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Ukončené očkování - s posilující dávkou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70AD47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9</c:f>
              <c:numCache>
                <c:formatCode>m/d/yyyy</c:formatCode>
                <c:ptCount val="34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</c:numCache>
            </c:numRef>
          </c:cat>
          <c:val>
            <c:numRef>
              <c:f>List1!$D$2:$D$349</c:f>
              <c:numCache>
                <c:formatCode>General</c:formatCode>
                <c:ptCount val="348"/>
                <c:pt idx="226">
                  <c:v>0</c:v>
                </c:pt>
                <c:pt idx="228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55.035773252614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31.938677738740999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12.088974854931999</c:v>
                </c:pt>
                <c:pt idx="264">
                  <c:v>0</c:v>
                </c:pt>
                <c:pt idx="265">
                  <c:v>0</c:v>
                </c:pt>
                <c:pt idx="266">
                  <c:v>21.896211955331001</c:v>
                </c:pt>
                <c:pt idx="267">
                  <c:v>30.693677102515998</c:v>
                </c:pt>
                <c:pt idx="268">
                  <c:v>27.685492801771002</c:v>
                </c:pt>
                <c:pt idx="269">
                  <c:v>0</c:v>
                </c:pt>
                <c:pt idx="270">
                  <c:v>25.764342150463001</c:v>
                </c:pt>
                <c:pt idx="271">
                  <c:v>17.012589316092999</c:v>
                </c:pt>
                <c:pt idx="272">
                  <c:v>8.4309923277959999</c:v>
                </c:pt>
                <c:pt idx="273">
                  <c:v>32.263268269074999</c:v>
                </c:pt>
                <c:pt idx="274">
                  <c:v>23.062730627305999</c:v>
                </c:pt>
                <c:pt idx="275">
                  <c:v>43.614160063966999</c:v>
                </c:pt>
                <c:pt idx="276">
                  <c:v>20.454080589077002</c:v>
                </c:pt>
                <c:pt idx="277">
                  <c:v>31.537782263151001</c:v>
                </c:pt>
                <c:pt idx="278">
                  <c:v>24.915908807773</c:v>
                </c:pt>
                <c:pt idx="279">
                  <c:v>6.190417234121</c:v>
                </c:pt>
                <c:pt idx="280">
                  <c:v>29.976019184651999</c:v>
                </c:pt>
                <c:pt idx="281">
                  <c:v>46.355313477807002</c:v>
                </c:pt>
                <c:pt idx="282">
                  <c:v>22.230867559606001</c:v>
                </c:pt>
                <c:pt idx="283">
                  <c:v>16.096147655327002</c:v>
                </c:pt>
                <c:pt idx="284">
                  <c:v>45.574235365606</c:v>
                </c:pt>
                <c:pt idx="285">
                  <c:v>30.199315482182001</c:v>
                </c:pt>
                <c:pt idx="286">
                  <c:v>20.054146194725</c:v>
                </c:pt>
                <c:pt idx="287">
                  <c:v>73.425033041264001</c:v>
                </c:pt>
                <c:pt idx="288">
                  <c:v>65.851364063969001</c:v>
                </c:pt>
                <c:pt idx="289">
                  <c:v>18.714325816412</c:v>
                </c:pt>
                <c:pt idx="290">
                  <c:v>40.996674714161998</c:v>
                </c:pt>
                <c:pt idx="291">
                  <c:v>78.722938989721996</c:v>
                </c:pt>
                <c:pt idx="292">
                  <c:v>17.353579175703999</c:v>
                </c:pt>
                <c:pt idx="293">
                  <c:v>17.292810514028002</c:v>
                </c:pt>
                <c:pt idx="294">
                  <c:v>54.965963384212003</c:v>
                </c:pt>
                <c:pt idx="295">
                  <c:v>49.413218035824002</c:v>
                </c:pt>
                <c:pt idx="296">
                  <c:v>32.158218434698</c:v>
                </c:pt>
                <c:pt idx="297">
                  <c:v>54.843890782308002</c:v>
                </c:pt>
                <c:pt idx="298">
                  <c:v>44.972454371696998</c:v>
                </c:pt>
                <c:pt idx="299">
                  <c:v>40.925664111913001</c:v>
                </c:pt>
                <c:pt idx="300">
                  <c:v>18.497280899707</c:v>
                </c:pt>
                <c:pt idx="301">
                  <c:v>47.038390563375003</c:v>
                </c:pt>
                <c:pt idx="302">
                  <c:v>31.843753317057001</c:v>
                </c:pt>
                <c:pt idx="303">
                  <c:v>55.468885422082998</c:v>
                </c:pt>
                <c:pt idx="304">
                  <c:v>54.112554112554001</c:v>
                </c:pt>
                <c:pt idx="305">
                  <c:v>58.388478007006</c:v>
                </c:pt>
                <c:pt idx="306">
                  <c:v>25.762406208739002</c:v>
                </c:pt>
                <c:pt idx="307">
                  <c:v>25.648424224936001</c:v>
                </c:pt>
                <c:pt idx="308">
                  <c:v>72.397620321697005</c:v>
                </c:pt>
                <c:pt idx="309">
                  <c:v>43.277999319917001</c:v>
                </c:pt>
                <c:pt idx="310">
                  <c:v>24.232877957168</c:v>
                </c:pt>
                <c:pt idx="311">
                  <c:v>41.476565740356001</c:v>
                </c:pt>
                <c:pt idx="312">
                  <c:v>14.326647564469001</c:v>
                </c:pt>
                <c:pt idx="313">
                  <c:v>19.911252702241001</c:v>
                </c:pt>
                <c:pt idx="314">
                  <c:v>8.4956955142720005</c:v>
                </c:pt>
                <c:pt idx="315">
                  <c:v>55.803571428570997</c:v>
                </c:pt>
                <c:pt idx="316">
                  <c:v>43.992301347263997</c:v>
                </c:pt>
                <c:pt idx="317">
                  <c:v>45.99691550096</c:v>
                </c:pt>
                <c:pt idx="318">
                  <c:v>15.942183016261</c:v>
                </c:pt>
                <c:pt idx="319">
                  <c:v>23.326335432703001</c:v>
                </c:pt>
                <c:pt idx="320">
                  <c:v>23.201258023767998</c:v>
                </c:pt>
                <c:pt idx="321">
                  <c:v>10.268521846280001</c:v>
                </c:pt>
                <c:pt idx="322">
                  <c:v>25.328639092221</c:v>
                </c:pt>
                <c:pt idx="323">
                  <c:v>25</c:v>
                </c:pt>
                <c:pt idx="324">
                  <c:v>27.222332211443</c:v>
                </c:pt>
                <c:pt idx="325">
                  <c:v>12.311935189972999</c:v>
                </c:pt>
                <c:pt idx="326">
                  <c:v>9.8490631078710003</c:v>
                </c:pt>
                <c:pt idx="327">
                  <c:v>0</c:v>
                </c:pt>
                <c:pt idx="328">
                  <c:v>4.9235617045369997</c:v>
                </c:pt>
                <c:pt idx="329">
                  <c:v>19.515527041201999</c:v>
                </c:pt>
                <c:pt idx="330">
                  <c:v>33.810708334338997</c:v>
                </c:pt>
                <c:pt idx="331">
                  <c:v>19.139213856790001</c:v>
                </c:pt>
                <c:pt idx="332">
                  <c:v>16.621156357592</c:v>
                </c:pt>
                <c:pt idx="333">
                  <c:v>33.17614161473</c:v>
                </c:pt>
                <c:pt idx="334">
                  <c:v>4.7394488021040004</c:v>
                </c:pt>
                <c:pt idx="335">
                  <c:v>18.925504482977999</c:v>
                </c:pt>
                <c:pt idx="336">
                  <c:v>53.902038903209998</c:v>
                </c:pt>
                <c:pt idx="337">
                  <c:v>62.550677632340999</c:v>
                </c:pt>
                <c:pt idx="338">
                  <c:v>45.773922596296003</c:v>
                </c:pt>
                <c:pt idx="339">
                  <c:v>38.373851606057997</c:v>
                </c:pt>
                <c:pt idx="340">
                  <c:v>48.551188400679003</c:v>
                </c:pt>
                <c:pt idx="341">
                  <c:v>24.170511975389999</c:v>
                </c:pt>
                <c:pt idx="342">
                  <c:v>37.284789998903001</c:v>
                </c:pt>
                <c:pt idx="343">
                  <c:v>63.035256270921003</c:v>
                </c:pt>
                <c:pt idx="344">
                  <c:v>75.401783790769997</c:v>
                </c:pt>
                <c:pt idx="345">
                  <c:v>76.741062863720003</c:v>
                </c:pt>
                <c:pt idx="346">
                  <c:v>44.339343777712003</c:v>
                </c:pt>
                <c:pt idx="347">
                  <c:v>72.818058878600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B55-4851-8113-CB904A1C35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305263600732"/>
          <c:y val="0.15289779551144775"/>
          <c:w val="0.79684300815915377"/>
          <c:h val="0.8041653594074434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B$2:$B$12</c:f>
              <c:numCache>
                <c:formatCode>General</c:formatCode>
                <c:ptCount val="11"/>
                <c:pt idx="0">
                  <c:v>70.596450000000004</c:v>
                </c:pt>
                <c:pt idx="1">
                  <c:v>55.340179999999997</c:v>
                </c:pt>
                <c:pt idx="2">
                  <c:v>50.027030000000003</c:v>
                </c:pt>
                <c:pt idx="3">
                  <c:v>50.175020000000004</c:v>
                </c:pt>
                <c:pt idx="4">
                  <c:v>46.155200000000001</c:v>
                </c:pt>
                <c:pt idx="5">
                  <c:v>49.918779999999998</c:v>
                </c:pt>
                <c:pt idx="6">
                  <c:v>61.448700000000002</c:v>
                </c:pt>
                <c:pt idx="7">
                  <c:v>45.28342</c:v>
                </c:pt>
                <c:pt idx="8">
                  <c:v>51.667569999999998</c:v>
                </c:pt>
                <c:pt idx="9">
                  <c:v>50.313429999999997</c:v>
                </c:pt>
                <c:pt idx="10">
                  <c:v>56.56537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DA-4934-90AD-68162997E19E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C$2:$C$12</c:f>
              <c:numCache>
                <c:formatCode>General</c:formatCode>
                <c:ptCount val="11"/>
                <c:pt idx="0">
                  <c:v>16.986979999999999</c:v>
                </c:pt>
                <c:pt idx="1">
                  <c:v>27.385660000000001</c:v>
                </c:pt>
                <c:pt idx="2">
                  <c:v>30.041740000000001</c:v>
                </c:pt>
                <c:pt idx="3">
                  <c:v>28.451409999999999</c:v>
                </c:pt>
                <c:pt idx="4">
                  <c:v>32.553229999999999</c:v>
                </c:pt>
                <c:pt idx="5">
                  <c:v>31.18038</c:v>
                </c:pt>
                <c:pt idx="6">
                  <c:v>24.196390000000001</c:v>
                </c:pt>
                <c:pt idx="7">
                  <c:v>30.18178</c:v>
                </c:pt>
                <c:pt idx="8">
                  <c:v>30.084399999999999</c:v>
                </c:pt>
                <c:pt idx="9">
                  <c:v>30.178629999999998</c:v>
                </c:pt>
                <c:pt idx="10">
                  <c:v>26.19352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DA-4934-90AD-68162997E19E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D$2:$D$12</c:f>
              <c:numCache>
                <c:formatCode>General</c:formatCode>
                <c:ptCount val="11"/>
                <c:pt idx="0">
                  <c:v>0.48572470000000001</c:v>
                </c:pt>
                <c:pt idx="1">
                  <c:v>0.94020669999999995</c:v>
                </c:pt>
                <c:pt idx="2">
                  <c:v>0.8898452</c:v>
                </c:pt>
                <c:pt idx="3">
                  <c:v>0.98711850000000001</c:v>
                </c:pt>
                <c:pt idx="4">
                  <c:v>1.4253035000000001</c:v>
                </c:pt>
                <c:pt idx="5">
                  <c:v>0.93982049999999995</c:v>
                </c:pt>
                <c:pt idx="6">
                  <c:v>0.92470280000000005</c:v>
                </c:pt>
                <c:pt idx="7">
                  <c:v>0.73141869999999998</c:v>
                </c:pt>
                <c:pt idx="8">
                  <c:v>0.69425539999999997</c:v>
                </c:pt>
                <c:pt idx="9">
                  <c:v>0.82009710000000002</c:v>
                </c:pt>
                <c:pt idx="10">
                  <c:v>0.8265453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DA-4934-90AD-68162997E19E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E$2:$E$12</c:f>
              <c:numCache>
                <c:formatCode>General</c:formatCode>
                <c:ptCount val="11"/>
                <c:pt idx="0">
                  <c:v>2.5318879999999999</c:v>
                </c:pt>
                <c:pt idx="1">
                  <c:v>7.5491950000000001</c:v>
                </c:pt>
                <c:pt idx="2">
                  <c:v>7.8853470000000003</c:v>
                </c:pt>
                <c:pt idx="3">
                  <c:v>7.4278909999999998</c:v>
                </c:pt>
                <c:pt idx="4">
                  <c:v>9.7483719999999998</c:v>
                </c:pt>
                <c:pt idx="5">
                  <c:v>8.0870979999999992</c:v>
                </c:pt>
                <c:pt idx="6">
                  <c:v>5.3060330000000002</c:v>
                </c:pt>
                <c:pt idx="7">
                  <c:v>9.5944929999999999</c:v>
                </c:pt>
                <c:pt idx="8">
                  <c:v>7.5755509999999999</c:v>
                </c:pt>
                <c:pt idx="9">
                  <c:v>7.2489039999999996</c:v>
                </c:pt>
                <c:pt idx="10">
                  <c:v>6.62436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7DA-4934-90AD-68162997E19E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F$2:$F$12</c:f>
              <c:numCache>
                <c:formatCode>General</c:formatCode>
                <c:ptCount val="11"/>
                <c:pt idx="0">
                  <c:v>9.3989639999999994</c:v>
                </c:pt>
                <c:pt idx="1">
                  <c:v>8.7847589999999993</c:v>
                </c:pt>
                <c:pt idx="2">
                  <c:v>11.156040000000001</c:v>
                </c:pt>
                <c:pt idx="3">
                  <c:v>12.95856</c:v>
                </c:pt>
                <c:pt idx="4">
                  <c:v>10.117900000000001</c:v>
                </c:pt>
                <c:pt idx="5">
                  <c:v>9.8739170000000005</c:v>
                </c:pt>
                <c:pt idx="6">
                  <c:v>8.124174</c:v>
                </c:pt>
                <c:pt idx="7">
                  <c:v>14.208880000000001</c:v>
                </c:pt>
                <c:pt idx="8">
                  <c:v>9.9782189999999993</c:v>
                </c:pt>
                <c:pt idx="9">
                  <c:v>11.438940000000001</c:v>
                </c:pt>
                <c:pt idx="10">
                  <c:v>9.7901849999999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7DA-4934-90AD-68162997E1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368428679273505E-2"/>
          <c:y val="5.0081916086988656E-2"/>
          <c:w val="0.98087724341670113"/>
          <c:h val="4.2435842974244235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5679636904293355"/>
          <c:h val="0.80623174724366597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9</c:f>
              <c:numCache>
                <c:formatCode>m/d/yyyy</c:formatCode>
                <c:ptCount val="34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</c:numCache>
            </c:numRef>
          </c:cat>
          <c:val>
            <c:numRef>
              <c:f>List1!$B$2:$B$349</c:f>
              <c:numCache>
                <c:formatCode>General</c:formatCode>
                <c:ptCount val="348"/>
                <c:pt idx="0">
                  <c:v>18.539575814505</c:v>
                </c:pt>
                <c:pt idx="1">
                  <c:v>27.003560315567</c:v>
                </c:pt>
                <c:pt idx="2">
                  <c:v>22.616001239690998</c:v>
                </c:pt>
                <c:pt idx="3">
                  <c:v>22.322462715168999</c:v>
                </c:pt>
                <c:pt idx="4">
                  <c:v>19.015905748719</c:v>
                </c:pt>
                <c:pt idx="5">
                  <c:v>11.022880957125</c:v>
                </c:pt>
                <c:pt idx="6">
                  <c:v>5.1036465554630004</c:v>
                </c:pt>
                <c:pt idx="7">
                  <c:v>24.079186123509</c:v>
                </c:pt>
                <c:pt idx="8">
                  <c:v>30.553942986342001</c:v>
                </c:pt>
                <c:pt idx="9">
                  <c:v>27.084628363377998</c:v>
                </c:pt>
                <c:pt idx="10">
                  <c:v>22.663300411112001</c:v>
                </c:pt>
                <c:pt idx="11">
                  <c:v>26.971475339701001</c:v>
                </c:pt>
                <c:pt idx="12">
                  <c:v>11.192933527966</c:v>
                </c:pt>
                <c:pt idx="13">
                  <c:v>8.4180989126619998</c:v>
                </c:pt>
                <c:pt idx="14">
                  <c:v>31.135785555868999</c:v>
                </c:pt>
                <c:pt idx="15">
                  <c:v>32.083080370584</c:v>
                </c:pt>
                <c:pt idx="16">
                  <c:v>33.016711535531002</c:v>
                </c:pt>
                <c:pt idx="17">
                  <c:v>29.890663100762001</c:v>
                </c:pt>
                <c:pt idx="18">
                  <c:v>31.773899088250001</c:v>
                </c:pt>
                <c:pt idx="19">
                  <c:v>16.22147723586</c:v>
                </c:pt>
                <c:pt idx="20">
                  <c:v>7.5963103635370004</c:v>
                </c:pt>
                <c:pt idx="21">
                  <c:v>41.700258541601997</c:v>
                </c:pt>
                <c:pt idx="22">
                  <c:v>48.255150527684002</c:v>
                </c:pt>
                <c:pt idx="23">
                  <c:v>38.797621184659</c:v>
                </c:pt>
                <c:pt idx="24">
                  <c:v>49.556645015131998</c:v>
                </c:pt>
                <c:pt idx="25">
                  <c:v>58.228182440300998</c:v>
                </c:pt>
                <c:pt idx="26">
                  <c:v>20.456049575837</c:v>
                </c:pt>
                <c:pt idx="27">
                  <c:v>10.836910517221</c:v>
                </c:pt>
                <c:pt idx="28">
                  <c:v>63.990834074814003</c:v>
                </c:pt>
                <c:pt idx="29">
                  <c:v>64.000393848577005</c:v>
                </c:pt>
                <c:pt idx="30">
                  <c:v>53.959511759451999</c:v>
                </c:pt>
                <c:pt idx="31">
                  <c:v>43.802288982472</c:v>
                </c:pt>
                <c:pt idx="32">
                  <c:v>51.089596013749997</c:v>
                </c:pt>
                <c:pt idx="33">
                  <c:v>22.085223723315998</c:v>
                </c:pt>
                <c:pt idx="34">
                  <c:v>10.731713475875001</c:v>
                </c:pt>
                <c:pt idx="35">
                  <c:v>50.151724838435001</c:v>
                </c:pt>
                <c:pt idx="36">
                  <c:v>54.325595664178003</c:v>
                </c:pt>
                <c:pt idx="37">
                  <c:v>49.471553856531997</c:v>
                </c:pt>
                <c:pt idx="38">
                  <c:v>45.223143912963998</c:v>
                </c:pt>
                <c:pt idx="39">
                  <c:v>53.971453652826</c:v>
                </c:pt>
                <c:pt idx="40">
                  <c:v>22.111232506113002</c:v>
                </c:pt>
                <c:pt idx="41">
                  <c:v>7.80487804878</c:v>
                </c:pt>
                <c:pt idx="42">
                  <c:v>37.855301373886</c:v>
                </c:pt>
                <c:pt idx="43">
                  <c:v>53.072644000497</c:v>
                </c:pt>
                <c:pt idx="44">
                  <c:v>33.562788738697002</c:v>
                </c:pt>
                <c:pt idx="45">
                  <c:v>35.675354276086999</c:v>
                </c:pt>
                <c:pt idx="46">
                  <c:v>31.897078759203001</c:v>
                </c:pt>
                <c:pt idx="47">
                  <c:v>12.626094815326001</c:v>
                </c:pt>
                <c:pt idx="48">
                  <c:v>5.9812984734389998</c:v>
                </c:pt>
                <c:pt idx="49">
                  <c:v>45.433286563773002</c:v>
                </c:pt>
                <c:pt idx="50">
                  <c:v>34.915732223192002</c:v>
                </c:pt>
                <c:pt idx="51">
                  <c:v>24.983625596736999</c:v>
                </c:pt>
                <c:pt idx="52">
                  <c:v>28.600223354124999</c:v>
                </c:pt>
                <c:pt idx="53">
                  <c:v>24.750262971544</c:v>
                </c:pt>
                <c:pt idx="54">
                  <c:v>12.388077163956</c:v>
                </c:pt>
                <c:pt idx="55">
                  <c:v>6.2027471277829997</c:v>
                </c:pt>
                <c:pt idx="56">
                  <c:v>32.699519247493001</c:v>
                </c:pt>
                <c:pt idx="57">
                  <c:v>33.714494423060003</c:v>
                </c:pt>
                <c:pt idx="58">
                  <c:v>24.857424912820999</c:v>
                </c:pt>
                <c:pt idx="59">
                  <c:v>22.270594912246001</c:v>
                </c:pt>
                <c:pt idx="60">
                  <c:v>17.506236596787002</c:v>
                </c:pt>
                <c:pt idx="61">
                  <c:v>10.225994477962001</c:v>
                </c:pt>
                <c:pt idx="62">
                  <c:v>14.620844938629</c:v>
                </c:pt>
                <c:pt idx="63">
                  <c:v>9.6143179380980008</c:v>
                </c:pt>
                <c:pt idx="64">
                  <c:v>27.693781623304002</c:v>
                </c:pt>
                <c:pt idx="65">
                  <c:v>32.610096996079001</c:v>
                </c:pt>
                <c:pt idx="66">
                  <c:v>25.381491508737</c:v>
                </c:pt>
                <c:pt idx="67">
                  <c:v>25.834129233273998</c:v>
                </c:pt>
                <c:pt idx="68">
                  <c:v>7.847938346596</c:v>
                </c:pt>
                <c:pt idx="69">
                  <c:v>3.9284395452430001</c:v>
                </c:pt>
                <c:pt idx="70">
                  <c:v>14.327901997150001</c:v>
                </c:pt>
                <c:pt idx="71">
                  <c:v>18.560810865337</c:v>
                </c:pt>
                <c:pt idx="72">
                  <c:v>22.932210747016001</c:v>
                </c:pt>
                <c:pt idx="73">
                  <c:v>16.681541040761001</c:v>
                </c:pt>
                <c:pt idx="74">
                  <c:v>15.940399684547</c:v>
                </c:pt>
                <c:pt idx="75">
                  <c:v>4.2105617731510003</c:v>
                </c:pt>
                <c:pt idx="76">
                  <c:v>2.5329066792739998</c:v>
                </c:pt>
                <c:pt idx="77">
                  <c:v>21.997360316761</c:v>
                </c:pt>
                <c:pt idx="78">
                  <c:v>19.813238689224999</c:v>
                </c:pt>
                <c:pt idx="79">
                  <c:v>19.203742984087</c:v>
                </c:pt>
                <c:pt idx="80">
                  <c:v>13.298226016649</c:v>
                </c:pt>
                <c:pt idx="81">
                  <c:v>11.726819235591</c:v>
                </c:pt>
                <c:pt idx="82">
                  <c:v>4.5385641798360004</c:v>
                </c:pt>
                <c:pt idx="83">
                  <c:v>0.91039028431400004</c:v>
                </c:pt>
                <c:pt idx="84">
                  <c:v>12.872497908219</c:v>
                </c:pt>
                <c:pt idx="85">
                  <c:v>13.95050361318</c:v>
                </c:pt>
                <c:pt idx="86">
                  <c:v>7.529553497477</c:v>
                </c:pt>
                <c:pt idx="87">
                  <c:v>16.177226271815002</c:v>
                </c:pt>
                <c:pt idx="88">
                  <c:v>11.572957855145001</c:v>
                </c:pt>
                <c:pt idx="89">
                  <c:v>3.865630677645</c:v>
                </c:pt>
                <c:pt idx="90">
                  <c:v>5.8114194391979996</c:v>
                </c:pt>
                <c:pt idx="91">
                  <c:v>11.704576489407</c:v>
                </c:pt>
                <c:pt idx="92">
                  <c:v>11.782842217922999</c:v>
                </c:pt>
                <c:pt idx="93">
                  <c:v>7.9010784972139998</c:v>
                </c:pt>
                <c:pt idx="94">
                  <c:v>5.9642739987470001</c:v>
                </c:pt>
                <c:pt idx="95">
                  <c:v>16.997110491215999</c:v>
                </c:pt>
                <c:pt idx="96">
                  <c:v>8.0117773126490004</c:v>
                </c:pt>
                <c:pt idx="97">
                  <c:v>2.00619915539</c:v>
                </c:pt>
                <c:pt idx="98">
                  <c:v>9.0559658690700005</c:v>
                </c:pt>
                <c:pt idx="99">
                  <c:v>16.164881794300999</c:v>
                </c:pt>
                <c:pt idx="100">
                  <c:v>6.0931644849750004</c:v>
                </c:pt>
                <c:pt idx="101">
                  <c:v>8.1600179520390004</c:v>
                </c:pt>
                <c:pt idx="102">
                  <c:v>6.1467852313240003</c:v>
                </c:pt>
                <c:pt idx="103">
                  <c:v>4.1007135241529999</c:v>
                </c:pt>
                <c:pt idx="104">
                  <c:v>1.025925127984</c:v>
                </c:pt>
                <c:pt idx="105">
                  <c:v>3.0851184171280002</c:v>
                </c:pt>
                <c:pt idx="106">
                  <c:v>7.2137432113519999</c:v>
                </c:pt>
                <c:pt idx="107">
                  <c:v>3.0998460409790001</c:v>
                </c:pt>
                <c:pt idx="108">
                  <c:v>4.1461088768190004</c:v>
                </c:pt>
                <c:pt idx="109">
                  <c:v>4.1625041625039998</c:v>
                </c:pt>
                <c:pt idx="110">
                  <c:v>1.0410918971809999</c:v>
                </c:pt>
                <c:pt idx="111">
                  <c:v>1.0422637969669999</c:v>
                </c:pt>
                <c:pt idx="112">
                  <c:v>1.0445282388199999</c:v>
                </c:pt>
                <c:pt idx="113">
                  <c:v>3.1401117879789999</c:v>
                </c:pt>
                <c:pt idx="114">
                  <c:v>7.3528639405040002</c:v>
                </c:pt>
                <c:pt idx="115">
                  <c:v>2.1082146584160002</c:v>
                </c:pt>
                <c:pt idx="116">
                  <c:v>3.1736964042009999</c:v>
                </c:pt>
                <c:pt idx="117">
                  <c:v>1.0629590654459999</c:v>
                </c:pt>
                <c:pt idx="118">
                  <c:v>1.063852422391</c:v>
                </c:pt>
                <c:pt idx="119">
                  <c:v>4.2718612499460002</c:v>
                </c:pt>
                <c:pt idx="120">
                  <c:v>2.1524123161030002</c:v>
                </c:pt>
                <c:pt idx="121">
                  <c:v>0</c:v>
                </c:pt>
                <c:pt idx="122">
                  <c:v>4.3767028109370001</c:v>
                </c:pt>
                <c:pt idx="123">
                  <c:v>0</c:v>
                </c:pt>
                <c:pt idx="124">
                  <c:v>0</c:v>
                </c:pt>
                <c:pt idx="125">
                  <c:v>1.1075055652150001</c:v>
                </c:pt>
                <c:pt idx="126">
                  <c:v>0</c:v>
                </c:pt>
                <c:pt idx="127">
                  <c:v>1.123671258736</c:v>
                </c:pt>
                <c:pt idx="128">
                  <c:v>1.1314905124520001</c:v>
                </c:pt>
                <c:pt idx="129">
                  <c:v>1.1419827103810001</c:v>
                </c:pt>
                <c:pt idx="131">
                  <c:v>1.157943492357</c:v>
                </c:pt>
                <c:pt idx="132">
                  <c:v>1.1611704598229999</c:v>
                </c:pt>
                <c:pt idx="133">
                  <c:v>1.1684290471459999</c:v>
                </c:pt>
                <c:pt idx="135">
                  <c:v>0</c:v>
                </c:pt>
                <c:pt idx="136">
                  <c:v>2.3870906139589998</c:v>
                </c:pt>
                <c:pt idx="137">
                  <c:v>0</c:v>
                </c:pt>
                <c:pt idx="138">
                  <c:v>0</c:v>
                </c:pt>
                <c:pt idx="139">
                  <c:v>1.209862801558</c:v>
                </c:pt>
                <c:pt idx="141">
                  <c:v>1.223945265167</c:v>
                </c:pt>
                <c:pt idx="142">
                  <c:v>2.463357556349</c:v>
                </c:pt>
                <c:pt idx="143">
                  <c:v>2.4805278563269999</c:v>
                </c:pt>
                <c:pt idx="145">
                  <c:v>1.254988579603</c:v>
                </c:pt>
                <c:pt idx="146">
                  <c:v>1.2569604183159999</c:v>
                </c:pt>
                <c:pt idx="147">
                  <c:v>0</c:v>
                </c:pt>
                <c:pt idx="148">
                  <c:v>3.8174738503040002</c:v>
                </c:pt>
                <c:pt idx="150">
                  <c:v>1.2905557132900001</c:v>
                </c:pt>
                <c:pt idx="151">
                  <c:v>2.6009831716380001</c:v>
                </c:pt>
                <c:pt idx="153">
                  <c:v>1.3064381270900001</c:v>
                </c:pt>
                <c:pt idx="154">
                  <c:v>0</c:v>
                </c:pt>
                <c:pt idx="155">
                  <c:v>1.3227688196930001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1.3554543482970001</c:v>
                </c:pt>
                <c:pt idx="161">
                  <c:v>2.732240437158</c:v>
                </c:pt>
                <c:pt idx="162">
                  <c:v>4.1268880512830002</c:v>
                </c:pt>
                <c:pt idx="163">
                  <c:v>1.3859245502669999</c:v>
                </c:pt>
                <c:pt idx="164">
                  <c:v>4.1914661748670001</c:v>
                </c:pt>
                <c:pt idx="165">
                  <c:v>2.8156720305210001</c:v>
                </c:pt>
                <c:pt idx="166">
                  <c:v>1.41091483718</c:v>
                </c:pt>
                <c:pt idx="167">
                  <c:v>2.8256569652439998</c:v>
                </c:pt>
                <c:pt idx="168">
                  <c:v>2.8292945154120002</c:v>
                </c:pt>
                <c:pt idx="169">
                  <c:v>2.8337040762829999</c:v>
                </c:pt>
                <c:pt idx="170">
                  <c:v>5.7058085130659997</c:v>
                </c:pt>
                <c:pt idx="171">
                  <c:v>2.8700993054350001</c:v>
                </c:pt>
                <c:pt idx="172">
                  <c:v>1.4442518775269999</c:v>
                </c:pt>
                <c:pt idx="173">
                  <c:v>0</c:v>
                </c:pt>
                <c:pt idx="174">
                  <c:v>1.449989850071</c:v>
                </c:pt>
                <c:pt idx="175">
                  <c:v>4.3756016452260003</c:v>
                </c:pt>
                <c:pt idx="176">
                  <c:v>1.4665982254159999</c:v>
                </c:pt>
                <c:pt idx="177">
                  <c:v>0</c:v>
                </c:pt>
                <c:pt idx="178">
                  <c:v>5.9448614104180004</c:v>
                </c:pt>
                <c:pt idx="179">
                  <c:v>1.4964459408899999</c:v>
                </c:pt>
                <c:pt idx="180">
                  <c:v>1.4993178103960001</c:v>
                </c:pt>
                <c:pt idx="181">
                  <c:v>0</c:v>
                </c:pt>
                <c:pt idx="182">
                  <c:v>0</c:v>
                </c:pt>
                <c:pt idx="183">
                  <c:v>3.0487804878040001</c:v>
                </c:pt>
                <c:pt idx="184">
                  <c:v>7.6767180494989997</c:v>
                </c:pt>
                <c:pt idx="185">
                  <c:v>0</c:v>
                </c:pt>
                <c:pt idx="186">
                  <c:v>6.2257778331180003</c:v>
                </c:pt>
                <c:pt idx="187">
                  <c:v>1.5612802498039999</c:v>
                </c:pt>
                <c:pt idx="188">
                  <c:v>0</c:v>
                </c:pt>
                <c:pt idx="189">
                  <c:v>12.581187978674</c:v>
                </c:pt>
                <c:pt idx="190">
                  <c:v>1.5821533106550001</c:v>
                </c:pt>
                <c:pt idx="191">
                  <c:v>4.7763855498409997</c:v>
                </c:pt>
                <c:pt idx="192">
                  <c:v>3.201075561388</c:v>
                </c:pt>
                <c:pt idx="193">
                  <c:v>9.6562379297019998</c:v>
                </c:pt>
                <c:pt idx="194">
                  <c:v>4.8387096774189997</c:v>
                </c:pt>
                <c:pt idx="195">
                  <c:v>1.6159265722959999</c:v>
                </c:pt>
                <c:pt idx="196">
                  <c:v>4.869576509162</c:v>
                </c:pt>
                <c:pt idx="197">
                  <c:v>3.2625895172989998</c:v>
                </c:pt>
                <c:pt idx="198">
                  <c:v>4.9202912812430002</c:v>
                </c:pt>
                <c:pt idx="199">
                  <c:v>0</c:v>
                </c:pt>
                <c:pt idx="200">
                  <c:v>3.316859597333</c:v>
                </c:pt>
                <c:pt idx="201">
                  <c:v>0</c:v>
                </c:pt>
                <c:pt idx="202">
                  <c:v>0</c:v>
                </c:pt>
                <c:pt idx="203">
                  <c:v>3.3522174918699998</c:v>
                </c:pt>
                <c:pt idx="204">
                  <c:v>3.3697831544539998</c:v>
                </c:pt>
                <c:pt idx="205">
                  <c:v>3.390750033907</c:v>
                </c:pt>
                <c:pt idx="206">
                  <c:v>5.1136944737999999</c:v>
                </c:pt>
                <c:pt idx="207">
                  <c:v>1.7154718405289999</c:v>
                </c:pt>
                <c:pt idx="208">
                  <c:v>0</c:v>
                </c:pt>
                <c:pt idx="209">
                  <c:v>3.4413930759169999</c:v>
                </c:pt>
                <c:pt idx="210">
                  <c:v>0</c:v>
                </c:pt>
                <c:pt idx="211">
                  <c:v>1.7383444007919999</c:v>
                </c:pt>
                <c:pt idx="212">
                  <c:v>3.4952813701499998</c:v>
                </c:pt>
                <c:pt idx="213">
                  <c:v>14.054319946593001</c:v>
                </c:pt>
                <c:pt idx="214">
                  <c:v>8.8436096076969992</c:v>
                </c:pt>
                <c:pt idx="215">
                  <c:v>10.62473438164</c:v>
                </c:pt>
                <c:pt idx="216">
                  <c:v>1.7723897130499999</c:v>
                </c:pt>
                <c:pt idx="217">
                  <c:v>7.1252983718690004</c:v>
                </c:pt>
                <c:pt idx="218">
                  <c:v>8.9474249311040008</c:v>
                </c:pt>
                <c:pt idx="219">
                  <c:v>1.7970097757329999</c:v>
                </c:pt>
                <c:pt idx="220">
                  <c:v>5.4122316435139997</c:v>
                </c:pt>
                <c:pt idx="221">
                  <c:v>1.8117911367170001</c:v>
                </c:pt>
                <c:pt idx="222">
                  <c:v>1.8130393792149999</c:v>
                </c:pt>
                <c:pt idx="223">
                  <c:v>3.6284470246730001</c:v>
                </c:pt>
                <c:pt idx="224">
                  <c:v>3.6374879508209998</c:v>
                </c:pt>
                <c:pt idx="225">
                  <c:v>7.2950102130139998</c:v>
                </c:pt>
                <c:pt idx="226">
                  <c:v>5.4820554053060002</c:v>
                </c:pt>
                <c:pt idx="227">
                  <c:v>10.988407230370999</c:v>
                </c:pt>
                <c:pt idx="228">
                  <c:v>14.684826902602</c:v>
                </c:pt>
                <c:pt idx="229">
                  <c:v>3.6718807373129998</c:v>
                </c:pt>
                <c:pt idx="230">
                  <c:v>9.1788592513719998</c:v>
                </c:pt>
                <c:pt idx="231">
                  <c:v>16.555377738535</c:v>
                </c:pt>
                <c:pt idx="232">
                  <c:v>14.737850484506</c:v>
                </c:pt>
                <c:pt idx="233">
                  <c:v>14.760147601476</c:v>
                </c:pt>
                <c:pt idx="234">
                  <c:v>9.2390701799770003</c:v>
                </c:pt>
                <c:pt idx="235">
                  <c:v>12.961762799740001</c:v>
                </c:pt>
                <c:pt idx="236">
                  <c:v>9.2582305669739995</c:v>
                </c:pt>
                <c:pt idx="237">
                  <c:v>9.2575448990920002</c:v>
                </c:pt>
                <c:pt idx="238">
                  <c:v>7.4146847832129996</c:v>
                </c:pt>
                <c:pt idx="239">
                  <c:v>14.852496147633</c:v>
                </c:pt>
                <c:pt idx="240">
                  <c:v>24.167611682251</c:v>
                </c:pt>
                <c:pt idx="241">
                  <c:v>35.377138920438</c:v>
                </c:pt>
                <c:pt idx="242">
                  <c:v>31.720560520963001</c:v>
                </c:pt>
                <c:pt idx="243">
                  <c:v>13.066527290374999</c:v>
                </c:pt>
                <c:pt idx="244">
                  <c:v>11.203644919146999</c:v>
                </c:pt>
                <c:pt idx="245">
                  <c:v>18.709073900840998</c:v>
                </c:pt>
                <c:pt idx="246">
                  <c:v>28.106730625093</c:v>
                </c:pt>
                <c:pt idx="247">
                  <c:v>22.515338574403</c:v>
                </c:pt>
                <c:pt idx="248">
                  <c:v>15.039007425509</c:v>
                </c:pt>
                <c:pt idx="249">
                  <c:v>15.075282190437999</c:v>
                </c:pt>
                <c:pt idx="250">
                  <c:v>9.4263144995559998</c:v>
                </c:pt>
                <c:pt idx="251">
                  <c:v>9.4296922148459998</c:v>
                </c:pt>
                <c:pt idx="252">
                  <c:v>34.000113333710999</c:v>
                </c:pt>
                <c:pt idx="253">
                  <c:v>49.118697221014997</c:v>
                </c:pt>
                <c:pt idx="254">
                  <c:v>28.396721125267</c:v>
                </c:pt>
                <c:pt idx="255">
                  <c:v>45.502806006370001</c:v>
                </c:pt>
                <c:pt idx="256">
                  <c:v>22.788127385631999</c:v>
                </c:pt>
                <c:pt idx="257">
                  <c:v>15.197279686936</c:v>
                </c:pt>
                <c:pt idx="258">
                  <c:v>24.701210359307002</c:v>
                </c:pt>
                <c:pt idx="259">
                  <c:v>97.043041443087006</c:v>
                </c:pt>
                <c:pt idx="260">
                  <c:v>81.942221205883996</c:v>
                </c:pt>
                <c:pt idx="261">
                  <c:v>78.230838214810007</c:v>
                </c:pt>
                <c:pt idx="262">
                  <c:v>106.994784004279</c:v>
                </c:pt>
                <c:pt idx="263">
                  <c:v>88.055130168453005</c:v>
                </c:pt>
                <c:pt idx="264">
                  <c:v>57.447052966182</c:v>
                </c:pt>
                <c:pt idx="265">
                  <c:v>34.474173098652997</c:v>
                </c:pt>
                <c:pt idx="266">
                  <c:v>113.169908313192</c:v>
                </c:pt>
                <c:pt idx="267">
                  <c:v>136.354906856155</c:v>
                </c:pt>
                <c:pt idx="268">
                  <c:v>148.03991309864799</c:v>
                </c:pt>
                <c:pt idx="269">
                  <c:v>78.943314849044</c:v>
                </c:pt>
                <c:pt idx="270">
                  <c:v>160.151275421603</c:v>
                </c:pt>
                <c:pt idx="271">
                  <c:v>127.40328932128701</c:v>
                </c:pt>
                <c:pt idx="272">
                  <c:v>63.715173865193997</c:v>
                </c:pt>
                <c:pt idx="273">
                  <c:v>206.84322443456401</c:v>
                </c:pt>
                <c:pt idx="274">
                  <c:v>228.27075232623301</c:v>
                </c:pt>
                <c:pt idx="275">
                  <c:v>215.02876736211999</c:v>
                </c:pt>
                <c:pt idx="276">
                  <c:v>176.62357827724</c:v>
                </c:pt>
                <c:pt idx="277">
                  <c:v>200.43589943177301</c:v>
                </c:pt>
                <c:pt idx="278">
                  <c:v>105.15656644337101</c:v>
                </c:pt>
                <c:pt idx="279">
                  <c:v>44.815962276649998</c:v>
                </c:pt>
                <c:pt idx="280">
                  <c:v>222.534551417193</c:v>
                </c:pt>
                <c:pt idx="281">
                  <c:v>232.931412464766</c:v>
                </c:pt>
                <c:pt idx="282">
                  <c:v>247.393532426223</c:v>
                </c:pt>
                <c:pt idx="283">
                  <c:v>200.42836650881199</c:v>
                </c:pt>
                <c:pt idx="284">
                  <c:v>297.51349647318398</c:v>
                </c:pt>
                <c:pt idx="285">
                  <c:v>159.76016252144899</c:v>
                </c:pt>
                <c:pt idx="286">
                  <c:v>80.928506572973006</c:v>
                </c:pt>
                <c:pt idx="287">
                  <c:v>308.83750395945498</c:v>
                </c:pt>
                <c:pt idx="288">
                  <c:v>373.193584246466</c:v>
                </c:pt>
                <c:pt idx="289">
                  <c:v>244.82971396723599</c:v>
                </c:pt>
                <c:pt idx="290">
                  <c:v>301.57176808931303</c:v>
                </c:pt>
                <c:pt idx="291">
                  <c:v>537.54813863928098</c:v>
                </c:pt>
                <c:pt idx="292">
                  <c:v>273.11430636998898</c:v>
                </c:pt>
                <c:pt idx="293">
                  <c:v>142.696358228153</c:v>
                </c:pt>
                <c:pt idx="294">
                  <c:v>338.70967741935402</c:v>
                </c:pt>
                <c:pt idx="295">
                  <c:v>438.49899973730402</c:v>
                </c:pt>
                <c:pt idx="296">
                  <c:v>293.83156358920297</c:v>
                </c:pt>
                <c:pt idx="297">
                  <c:v>451.37547526584302</c:v>
                </c:pt>
                <c:pt idx="298">
                  <c:v>288.04902962206302</c:v>
                </c:pt>
                <c:pt idx="299">
                  <c:v>175.91588765929501</c:v>
                </c:pt>
                <c:pt idx="300">
                  <c:v>118.755118755118</c:v>
                </c:pt>
                <c:pt idx="301">
                  <c:v>361.89418707461999</c:v>
                </c:pt>
                <c:pt idx="302">
                  <c:v>347.14329992767802</c:v>
                </c:pt>
                <c:pt idx="303">
                  <c:v>316.56700668308099</c:v>
                </c:pt>
                <c:pt idx="304">
                  <c:v>236.95204838810201</c:v>
                </c:pt>
                <c:pt idx="305">
                  <c:v>265.67926028199599</c:v>
                </c:pt>
                <c:pt idx="306">
                  <c:v>155.045256453234</c:v>
                </c:pt>
                <c:pt idx="307">
                  <c:v>90.199697935895003</c:v>
                </c:pt>
                <c:pt idx="308">
                  <c:v>299.43907890852302</c:v>
                </c:pt>
                <c:pt idx="309">
                  <c:v>298.82377874324402</c:v>
                </c:pt>
                <c:pt idx="310">
                  <c:v>236.58801713664499</c:v>
                </c:pt>
                <c:pt idx="311">
                  <c:v>205.91137231350001</c:v>
                </c:pt>
                <c:pt idx="312">
                  <c:v>198.78567878827101</c:v>
                </c:pt>
                <c:pt idx="313">
                  <c:v>129.85607618223099</c:v>
                </c:pt>
                <c:pt idx="314">
                  <c:v>84.496056850680006</c:v>
                </c:pt>
                <c:pt idx="315">
                  <c:v>204.516774726948</c:v>
                </c:pt>
                <c:pt idx="316">
                  <c:v>288.448931427822</c:v>
                </c:pt>
                <c:pt idx="317">
                  <c:v>175.619607929225</c:v>
                </c:pt>
                <c:pt idx="318">
                  <c:v>154.40608801146999</c:v>
                </c:pt>
                <c:pt idx="319">
                  <c:v>166.42258021568301</c:v>
                </c:pt>
                <c:pt idx="320">
                  <c:v>106.692747115961</c:v>
                </c:pt>
                <c:pt idx="321">
                  <c:v>68.980863373386001</c:v>
                </c:pt>
                <c:pt idx="322">
                  <c:v>176.627093254633</c:v>
                </c:pt>
                <c:pt idx="323">
                  <c:v>177.524100582009</c:v>
                </c:pt>
                <c:pt idx="324">
                  <c:v>103.64095169430399</c:v>
                </c:pt>
                <c:pt idx="325">
                  <c:v>124.54428115305301</c:v>
                </c:pt>
                <c:pt idx="326">
                  <c:v>36.501345987133</c:v>
                </c:pt>
                <c:pt idx="327">
                  <c:v>43.438500228622999</c:v>
                </c:pt>
                <c:pt idx="328">
                  <c:v>34.34459072696</c:v>
                </c:pt>
                <c:pt idx="329">
                  <c:v>98.911968348170006</c:v>
                </c:pt>
                <c:pt idx="330">
                  <c:v>187.23561637502601</c:v>
                </c:pt>
                <c:pt idx="331">
                  <c:v>169.641197248559</c:v>
                </c:pt>
                <c:pt idx="332">
                  <c:v>102.861417617355</c:v>
                </c:pt>
                <c:pt idx="333">
                  <c:v>141.32278123233399</c:v>
                </c:pt>
                <c:pt idx="334">
                  <c:v>16.549245827225</c:v>
                </c:pt>
                <c:pt idx="335">
                  <c:v>52.138879014101001</c:v>
                </c:pt>
                <c:pt idx="336">
                  <c:v>116.87258503076799</c:v>
                </c:pt>
                <c:pt idx="337">
                  <c:v>122.422525744737</c:v>
                </c:pt>
                <c:pt idx="338">
                  <c:v>113.537539858923</c:v>
                </c:pt>
                <c:pt idx="339">
                  <c:v>130.93765912562699</c:v>
                </c:pt>
                <c:pt idx="340">
                  <c:v>92.318157523929003</c:v>
                </c:pt>
                <c:pt idx="341">
                  <c:v>48.683121561754</c:v>
                </c:pt>
                <c:pt idx="342">
                  <c:v>34.145508646129997</c:v>
                </c:pt>
                <c:pt idx="343">
                  <c:v>105.410241953276</c:v>
                </c:pt>
                <c:pt idx="344">
                  <c:v>170.05126182965199</c:v>
                </c:pt>
                <c:pt idx="345">
                  <c:v>128.81490289338001</c:v>
                </c:pt>
                <c:pt idx="346">
                  <c:v>134.28827215756399</c:v>
                </c:pt>
                <c:pt idx="347">
                  <c:v>169.554918339359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0B-4754-90A8-6FC4E50C7F8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 - bez posilující dávky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9</c:f>
              <c:numCache>
                <c:formatCode>m/d/yyyy</c:formatCode>
                <c:ptCount val="34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</c:numCache>
            </c:numRef>
          </c:cat>
          <c:val>
            <c:numRef>
              <c:f>List1!$C$2:$C$349</c:f>
              <c:numCache>
                <c:formatCode>General</c:formatCode>
                <c:ptCount val="34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81749772122499997</c:v>
                </c:pt>
                <c:pt idx="9">
                  <c:v>0.81752779594500002</c:v>
                </c:pt>
                <c:pt idx="10">
                  <c:v>1.22633179633</c:v>
                </c:pt>
                <c:pt idx="11">
                  <c:v>2.4527538293609998</c:v>
                </c:pt>
                <c:pt idx="12">
                  <c:v>0.40880567422199998</c:v>
                </c:pt>
                <c:pt idx="13">
                  <c:v>0</c:v>
                </c:pt>
                <c:pt idx="14">
                  <c:v>1.226502260852</c:v>
                </c:pt>
                <c:pt idx="15">
                  <c:v>2.4530847540780001</c:v>
                </c:pt>
                <c:pt idx="16">
                  <c:v>0.81772500725700004</c:v>
                </c:pt>
                <c:pt idx="17">
                  <c:v>4.0887587754980004</c:v>
                </c:pt>
                <c:pt idx="18">
                  <c:v>2.862224766422</c:v>
                </c:pt>
                <c:pt idx="19">
                  <c:v>1.63561720015</c:v>
                </c:pt>
                <c:pt idx="20">
                  <c:v>0.408917676693</c:v>
                </c:pt>
                <c:pt idx="21">
                  <c:v>3.6803945382940002</c:v>
                </c:pt>
                <c:pt idx="22">
                  <c:v>5.7252454698989999</c:v>
                </c:pt>
                <c:pt idx="23">
                  <c:v>5.7254561961699997</c:v>
                </c:pt>
                <c:pt idx="24">
                  <c:v>4.498719909698</c:v>
                </c:pt>
                <c:pt idx="25">
                  <c:v>8.5887462884340007</c:v>
                </c:pt>
                <c:pt idx="26">
                  <c:v>3.681026761064</c:v>
                </c:pt>
                <c:pt idx="27">
                  <c:v>4.4991799222050002</c:v>
                </c:pt>
                <c:pt idx="28">
                  <c:v>8.1797918242980003</c:v>
                </c:pt>
                <c:pt idx="29">
                  <c:v>5.3165385244559999</c:v>
                </c:pt>
                <c:pt idx="30">
                  <c:v>7.7698171230410003</c:v>
                </c:pt>
                <c:pt idx="31">
                  <c:v>4.4978737324170002</c:v>
                </c:pt>
                <c:pt idx="32">
                  <c:v>6.541693071938</c:v>
                </c:pt>
                <c:pt idx="33">
                  <c:v>3.679341316141</c:v>
                </c:pt>
                <c:pt idx="34">
                  <c:v>1.635102377847</c:v>
                </c:pt>
                <c:pt idx="35">
                  <c:v>5.7222969299870003</c:v>
                </c:pt>
                <c:pt idx="36">
                  <c:v>6.9477934625350004</c:v>
                </c:pt>
                <c:pt idx="37">
                  <c:v>2.4519218981140001</c:v>
                </c:pt>
                <c:pt idx="38">
                  <c:v>6.1292036121429998</c:v>
                </c:pt>
                <c:pt idx="39">
                  <c:v>6.5371761033520004</c:v>
                </c:pt>
                <c:pt idx="40">
                  <c:v>2.859734126432</c:v>
                </c:pt>
                <c:pt idx="41">
                  <c:v>3.267933808</c:v>
                </c:pt>
                <c:pt idx="42">
                  <c:v>8.1690336441649993</c:v>
                </c:pt>
                <c:pt idx="43">
                  <c:v>4.4925281089310003</c:v>
                </c:pt>
                <c:pt idx="44">
                  <c:v>3.26697294538</c:v>
                </c:pt>
                <c:pt idx="45">
                  <c:v>5.3082890975900003</c:v>
                </c:pt>
                <c:pt idx="46">
                  <c:v>6.1243487775789998</c:v>
                </c:pt>
                <c:pt idx="47">
                  <c:v>1.224749742802</c:v>
                </c:pt>
                <c:pt idx="48">
                  <c:v>1.6328396714719999</c:v>
                </c:pt>
                <c:pt idx="49">
                  <c:v>5.714379010269</c:v>
                </c:pt>
                <c:pt idx="50">
                  <c:v>5.7137959603460002</c:v>
                </c:pt>
                <c:pt idx="51">
                  <c:v>6.5294129649650001</c:v>
                </c:pt>
                <c:pt idx="52">
                  <c:v>4.0804834556790004</c:v>
                </c:pt>
                <c:pt idx="53">
                  <c:v>3.2640671092189999</c:v>
                </c:pt>
                <c:pt idx="54">
                  <c:v>3.2637342014859998</c:v>
                </c:pt>
                <c:pt idx="55">
                  <c:v>1.6317073369720001</c:v>
                </c:pt>
                <c:pt idx="56">
                  <c:v>4.0788690112000001</c:v>
                </c:pt>
                <c:pt idx="57">
                  <c:v>2.4470818548879998</c:v>
                </c:pt>
                <c:pt idx="58">
                  <c:v>4.8936647431839999</c:v>
                </c:pt>
                <c:pt idx="59">
                  <c:v>2.038652858191</c:v>
                </c:pt>
                <c:pt idx="60">
                  <c:v>1.2229623409120001</c:v>
                </c:pt>
                <c:pt idx="61">
                  <c:v>3.6681991587590002</c:v>
                </c:pt>
                <c:pt idx="62">
                  <c:v>0.40750294420799998</c:v>
                </c:pt>
                <c:pt idx="63">
                  <c:v>1.222279714638</c:v>
                </c:pt>
                <c:pt idx="64">
                  <c:v>3.6661520475449998</c:v>
                </c:pt>
                <c:pt idx="65">
                  <c:v>2.850928995576</c:v>
                </c:pt>
                <c:pt idx="66">
                  <c:v>4.0719928332919997</c:v>
                </c:pt>
                <c:pt idx="67">
                  <c:v>2.035615122177</c:v>
                </c:pt>
                <c:pt idx="68">
                  <c:v>2.0352339704969999</c:v>
                </c:pt>
                <c:pt idx="69">
                  <c:v>0.81394449712399997</c:v>
                </c:pt>
                <c:pt idx="70">
                  <c:v>3.6620646720619998</c:v>
                </c:pt>
                <c:pt idx="71">
                  <c:v>2.0340996464729999</c:v>
                </c:pt>
                <c:pt idx="72">
                  <c:v>2.0337273341080002</c:v>
                </c:pt>
                <c:pt idx="73">
                  <c:v>2.4400162667749998</c:v>
                </c:pt>
                <c:pt idx="74">
                  <c:v>2.0329665861609998</c:v>
                </c:pt>
                <c:pt idx="75">
                  <c:v>2.4391037106889999</c:v>
                </c:pt>
                <c:pt idx="76">
                  <c:v>1.6257717335190001</c:v>
                </c:pt>
                <c:pt idx="77">
                  <c:v>2.8445687024290001</c:v>
                </c:pt>
                <c:pt idx="78">
                  <c:v>2.8440370699909998</c:v>
                </c:pt>
                <c:pt idx="79">
                  <c:v>4.8746008920510002</c:v>
                </c:pt>
                <c:pt idx="80">
                  <c:v>1.624563398586</c:v>
                </c:pt>
                <c:pt idx="81">
                  <c:v>2.0303249332019999</c:v>
                </c:pt>
                <c:pt idx="82">
                  <c:v>0.40598915196899998</c:v>
                </c:pt>
                <c:pt idx="83">
                  <c:v>0.40591499328199998</c:v>
                </c:pt>
                <c:pt idx="84">
                  <c:v>2.8408745023390001</c:v>
                </c:pt>
                <c:pt idx="85">
                  <c:v>2.840344249723</c:v>
                </c:pt>
                <c:pt idx="86">
                  <c:v>1.2170681639300001</c:v>
                </c:pt>
                <c:pt idx="87">
                  <c:v>4.0561369351819998</c:v>
                </c:pt>
                <c:pt idx="88">
                  <c:v>2.4332281638039999</c:v>
                </c:pt>
                <c:pt idx="89">
                  <c:v>0.81097081315999997</c:v>
                </c:pt>
                <c:pt idx="90">
                  <c:v>1.6220271284029999</c:v>
                </c:pt>
                <c:pt idx="91">
                  <c:v>2.8387086308899998</c:v>
                </c:pt>
                <c:pt idx="92">
                  <c:v>4.4610630307649997</c:v>
                </c:pt>
                <c:pt idx="93">
                  <c:v>3.2445936957539998</c:v>
                </c:pt>
                <c:pt idx="94">
                  <c:v>1.216786790562</c:v>
                </c:pt>
                <c:pt idx="95">
                  <c:v>1.622474517009</c:v>
                </c:pt>
                <c:pt idx="96">
                  <c:v>0</c:v>
                </c:pt>
                <c:pt idx="97">
                  <c:v>0</c:v>
                </c:pt>
                <c:pt idx="98">
                  <c:v>1.622737802082</c:v>
                </c:pt>
                <c:pt idx="99">
                  <c:v>1.217117541098</c:v>
                </c:pt>
                <c:pt idx="100">
                  <c:v>2.4343733517259998</c:v>
                </c:pt>
                <c:pt idx="101">
                  <c:v>2.4345017589269999</c:v>
                </c:pt>
                <c:pt idx="102">
                  <c:v>0.81154668625100002</c:v>
                </c:pt>
                <c:pt idx="103">
                  <c:v>0.811589498031</c:v>
                </c:pt>
                <c:pt idx="104">
                  <c:v>0.405817804038</c:v>
                </c:pt>
                <c:pt idx="105">
                  <c:v>2.8408745023390001</c:v>
                </c:pt>
                <c:pt idx="106">
                  <c:v>1.217586824087</c:v>
                </c:pt>
                <c:pt idx="107">
                  <c:v>1.217651069909</c:v>
                </c:pt>
                <c:pt idx="108">
                  <c:v>1.6236270204000001</c:v>
                </c:pt>
                <c:pt idx="109">
                  <c:v>0.405928175068</c:v>
                </c:pt>
                <c:pt idx="110">
                  <c:v>0.40594959729699998</c:v>
                </c:pt>
                <c:pt idx="111">
                  <c:v>0</c:v>
                </c:pt>
                <c:pt idx="112">
                  <c:v>1.2179822905369999</c:v>
                </c:pt>
                <c:pt idx="113">
                  <c:v>0.812034349052</c:v>
                </c:pt>
                <c:pt idx="114">
                  <c:v>0.40603860614999998</c:v>
                </c:pt>
                <c:pt idx="115">
                  <c:v>1.218185066675</c:v>
                </c:pt>
                <c:pt idx="116">
                  <c:v>1.624332500862</c:v>
                </c:pt>
                <c:pt idx="117">
                  <c:v>0.40610621301799998</c:v>
                </c:pt>
                <c:pt idx="118">
                  <c:v>0</c:v>
                </c:pt>
                <c:pt idx="119">
                  <c:v>0.81229819466700004</c:v>
                </c:pt>
                <c:pt idx="120">
                  <c:v>0</c:v>
                </c:pt>
                <c:pt idx="121">
                  <c:v>0</c:v>
                </c:pt>
                <c:pt idx="122">
                  <c:v>1.2185215272130001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.40620684052299999</c:v>
                </c:pt>
                <c:pt idx="127">
                  <c:v>0.40621344078999999</c:v>
                </c:pt>
                <c:pt idx="128">
                  <c:v>0</c:v>
                </c:pt>
                <c:pt idx="129">
                  <c:v>0</c:v>
                </c:pt>
                <c:pt idx="131">
                  <c:v>0.40624644534299997</c:v>
                </c:pt>
                <c:pt idx="132">
                  <c:v>0.40625469731899999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.406302565394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.40637521436200003</c:v>
                </c:pt>
                <c:pt idx="148">
                  <c:v>0</c:v>
                </c:pt>
                <c:pt idx="150">
                  <c:v>0.40637356296100002</c:v>
                </c:pt>
                <c:pt idx="151">
                  <c:v>0.812694284727</c:v>
                </c:pt>
                <c:pt idx="153">
                  <c:v>0.40629596222999997</c:v>
                </c:pt>
                <c:pt idx="154">
                  <c:v>0.81253910344400004</c:v>
                </c:pt>
                <c:pt idx="155">
                  <c:v>0</c:v>
                </c:pt>
                <c:pt idx="156">
                  <c:v>0.406218391131</c:v>
                </c:pt>
                <c:pt idx="157">
                  <c:v>1.2185759721180001</c:v>
                </c:pt>
                <c:pt idx="158">
                  <c:v>0.81233118742499999</c:v>
                </c:pt>
                <c:pt idx="159">
                  <c:v>0</c:v>
                </c:pt>
                <c:pt idx="161">
                  <c:v>2.0304403619050002</c:v>
                </c:pt>
                <c:pt idx="162">
                  <c:v>0.406063337759</c:v>
                </c:pt>
                <c:pt idx="163">
                  <c:v>1.6241478299350001</c:v>
                </c:pt>
                <c:pt idx="164">
                  <c:v>0.40601058063500001</c:v>
                </c:pt>
                <c:pt idx="165">
                  <c:v>2.0299292772630002</c:v>
                </c:pt>
                <c:pt idx="166">
                  <c:v>0</c:v>
                </c:pt>
                <c:pt idx="167">
                  <c:v>0.40593311845899999</c:v>
                </c:pt>
                <c:pt idx="168">
                  <c:v>2.0295420135489999</c:v>
                </c:pt>
                <c:pt idx="169">
                  <c:v>2.029410212803</c:v>
                </c:pt>
                <c:pt idx="170">
                  <c:v>0.81171137166999996</c:v>
                </c:pt>
                <c:pt idx="171">
                  <c:v>2.029154897568</c:v>
                </c:pt>
                <c:pt idx="172">
                  <c:v>1.217413888257</c:v>
                </c:pt>
                <c:pt idx="173">
                  <c:v>0.40577828274599997</c:v>
                </c:pt>
                <c:pt idx="174">
                  <c:v>0</c:v>
                </c:pt>
                <c:pt idx="175">
                  <c:v>2.0286362290079998</c:v>
                </c:pt>
                <c:pt idx="176">
                  <c:v>1.2171027275270001</c:v>
                </c:pt>
                <c:pt idx="177">
                  <c:v>0.81135244338699997</c:v>
                </c:pt>
                <c:pt idx="178">
                  <c:v>0.40564989169100002</c:v>
                </c:pt>
                <c:pt idx="179">
                  <c:v>0.81124713021299999</c:v>
                </c:pt>
                <c:pt idx="180">
                  <c:v>0.40559724193800001</c:v>
                </c:pt>
                <c:pt idx="181">
                  <c:v>0.40561533874900002</c:v>
                </c:pt>
                <c:pt idx="182">
                  <c:v>0.81126687435</c:v>
                </c:pt>
                <c:pt idx="183">
                  <c:v>1.6225995667649999</c:v>
                </c:pt>
                <c:pt idx="184">
                  <c:v>1.622671972804</c:v>
                </c:pt>
                <c:pt idx="185">
                  <c:v>1.2170533515619999</c:v>
                </c:pt>
                <c:pt idx="186">
                  <c:v>0.405702555114</c:v>
                </c:pt>
                <c:pt idx="187">
                  <c:v>0</c:v>
                </c:pt>
                <c:pt idx="188">
                  <c:v>0.81147424583600003</c:v>
                </c:pt>
                <c:pt idx="189">
                  <c:v>1.2172607575409999</c:v>
                </c:pt>
                <c:pt idx="190">
                  <c:v>0.81154339322500002</c:v>
                </c:pt>
                <c:pt idx="191">
                  <c:v>1.623159235978</c:v>
                </c:pt>
                <c:pt idx="192">
                  <c:v>0.81161255239899999</c:v>
                </c:pt>
                <c:pt idx="193">
                  <c:v>1.217473175007</c:v>
                </c:pt>
                <c:pt idx="194">
                  <c:v>0.40584086168099998</c:v>
                </c:pt>
                <c:pt idx="195">
                  <c:v>0.40585898023799999</c:v>
                </c:pt>
                <c:pt idx="196">
                  <c:v>1.2176263591750001</c:v>
                </c:pt>
                <c:pt idx="197">
                  <c:v>0.405893574704</c:v>
                </c:pt>
                <c:pt idx="198">
                  <c:v>0</c:v>
                </c:pt>
                <c:pt idx="199">
                  <c:v>1.217784525206</c:v>
                </c:pt>
                <c:pt idx="200">
                  <c:v>0.40594465350499997</c:v>
                </c:pt>
                <c:pt idx="201">
                  <c:v>0.40596278133199998</c:v>
                </c:pt>
                <c:pt idx="202">
                  <c:v>0.81196182155499996</c:v>
                </c:pt>
                <c:pt idx="203">
                  <c:v>1.623989573986</c:v>
                </c:pt>
                <c:pt idx="204">
                  <c:v>1.2180465781009999</c:v>
                </c:pt>
                <c:pt idx="205">
                  <c:v>1.6241280462550001</c:v>
                </c:pt>
                <c:pt idx="206">
                  <c:v>0.40605014719299998</c:v>
                </c:pt>
                <c:pt idx="207">
                  <c:v>1.2181999066039999</c:v>
                </c:pt>
                <c:pt idx="208">
                  <c:v>0.40608477425700001</c:v>
                </c:pt>
                <c:pt idx="209">
                  <c:v>0</c:v>
                </c:pt>
                <c:pt idx="210">
                  <c:v>0.406119407228</c:v>
                </c:pt>
                <c:pt idx="211">
                  <c:v>2.4368154071710002</c:v>
                </c:pt>
                <c:pt idx="212">
                  <c:v>2.0304980811790001</c:v>
                </c:pt>
                <c:pt idx="213">
                  <c:v>1.6242533510370001</c:v>
                </c:pt>
                <c:pt idx="214">
                  <c:v>3.248216526113</c:v>
                </c:pt>
                <c:pt idx="215">
                  <c:v>1.2179724007449999</c:v>
                </c:pt>
                <c:pt idx="216">
                  <c:v>0.81190908242000004</c:v>
                </c:pt>
                <c:pt idx="217">
                  <c:v>1.2177548659449999</c:v>
                </c:pt>
                <c:pt idx="218">
                  <c:v>2.8411627661560002</c:v>
                </c:pt>
                <c:pt idx="219">
                  <c:v>0.40584415584400002</c:v>
                </c:pt>
                <c:pt idx="220">
                  <c:v>1.6232316919750001</c:v>
                </c:pt>
                <c:pt idx="221">
                  <c:v>1.62308678645</c:v>
                </c:pt>
                <c:pt idx="222">
                  <c:v>1.2172064300950001</c:v>
                </c:pt>
                <c:pt idx="223">
                  <c:v>1.2170977897499999</c:v>
                </c:pt>
                <c:pt idx="224">
                  <c:v>2.8396298745280002</c:v>
                </c:pt>
                <c:pt idx="225">
                  <c:v>2.4337512625079998</c:v>
                </c:pt>
                <c:pt idx="226">
                  <c:v>2.0279533084030001</c:v>
                </c:pt>
                <c:pt idx="227">
                  <c:v>4.0555282933930004</c:v>
                </c:pt>
                <c:pt idx="228">
                  <c:v>1.2165647455749999</c:v>
                </c:pt>
                <c:pt idx="229">
                  <c:v>1.216441422263</c:v>
                </c:pt>
                <c:pt idx="230">
                  <c:v>1.621770649194</c:v>
                </c:pt>
                <c:pt idx="231">
                  <c:v>3.2465819579319999</c:v>
                </c:pt>
                <c:pt idx="232">
                  <c:v>4.0625469731989998</c:v>
                </c:pt>
                <c:pt idx="233">
                  <c:v>3.253183036277</c:v>
                </c:pt>
                <c:pt idx="234">
                  <c:v>3.257859586251</c:v>
                </c:pt>
                <c:pt idx="235">
                  <c:v>2.4460044517280002</c:v>
                </c:pt>
                <c:pt idx="236">
                  <c:v>1.6308291951039999</c:v>
                </c:pt>
                <c:pt idx="237">
                  <c:v>1.6310153886300001</c:v>
                </c:pt>
                <c:pt idx="238">
                  <c:v>4.9024013595989997</c:v>
                </c:pt>
                <c:pt idx="239">
                  <c:v>4.0855347556439998</c:v>
                </c:pt>
                <c:pt idx="240">
                  <c:v>4.0978232362959996</c:v>
                </c:pt>
                <c:pt idx="241">
                  <c:v>7.398273736128</c:v>
                </c:pt>
                <c:pt idx="242">
                  <c:v>1.653610037412</c:v>
                </c:pt>
                <c:pt idx="243">
                  <c:v>2.8945594687240002</c:v>
                </c:pt>
                <c:pt idx="244">
                  <c:v>4.1358374450450004</c:v>
                </c:pt>
                <c:pt idx="245">
                  <c:v>4.1529963868930002</c:v>
                </c:pt>
                <c:pt idx="246">
                  <c:v>4.5895483467189999</c:v>
                </c:pt>
                <c:pt idx="247">
                  <c:v>5.4563158955070001</c:v>
                </c:pt>
                <c:pt idx="248">
                  <c:v>8.4387117462639996</c:v>
                </c:pt>
                <c:pt idx="249">
                  <c:v>6.8221840369419997</c:v>
                </c:pt>
                <c:pt idx="250">
                  <c:v>2.5609178329510001</c:v>
                </c:pt>
                <c:pt idx="251">
                  <c:v>2.1350003416000001</c:v>
                </c:pt>
                <c:pt idx="252">
                  <c:v>9.4423437614000001</c:v>
                </c:pt>
                <c:pt idx="253">
                  <c:v>14.246121169736</c:v>
                </c:pt>
                <c:pt idx="254">
                  <c:v>13.900049953304</c:v>
                </c:pt>
                <c:pt idx="255">
                  <c:v>10.062210711442001</c:v>
                </c:pt>
                <c:pt idx="256">
                  <c:v>11.044012599008999</c:v>
                </c:pt>
                <c:pt idx="257">
                  <c:v>6.1937584611160004</c:v>
                </c:pt>
                <c:pt idx="258">
                  <c:v>7.0837520863860002</c:v>
                </c:pt>
                <c:pt idx="259">
                  <c:v>17.373407994440001</c:v>
                </c:pt>
                <c:pt idx="260">
                  <c:v>25.112670687683</c:v>
                </c:pt>
                <c:pt idx="261">
                  <c:v>19.897527732179</c:v>
                </c:pt>
                <c:pt idx="262">
                  <c:v>28.781053843412</c:v>
                </c:pt>
                <c:pt idx="263">
                  <c:v>25.015171238112</c:v>
                </c:pt>
                <c:pt idx="264">
                  <c:v>19.962025727800999</c:v>
                </c:pt>
                <c:pt idx="265">
                  <c:v>12.085603257534</c:v>
                </c:pt>
                <c:pt idx="266">
                  <c:v>49.711579046099999</c:v>
                </c:pt>
                <c:pt idx="267">
                  <c:v>45.452608553612002</c:v>
                </c:pt>
                <c:pt idx="268">
                  <c:v>38.437145657563001</c:v>
                </c:pt>
                <c:pt idx="269">
                  <c:v>24.066461941297</c:v>
                </c:pt>
                <c:pt idx="270">
                  <c:v>50.569637794968997</c:v>
                </c:pt>
                <c:pt idx="271">
                  <c:v>32.633101654546003</c:v>
                </c:pt>
                <c:pt idx="272">
                  <c:v>28.293925099150002</c:v>
                </c:pt>
                <c:pt idx="273">
                  <c:v>85.579382254574</c:v>
                </c:pt>
                <c:pt idx="274">
                  <c:v>70.014797453645997</c:v>
                </c:pt>
                <c:pt idx="275">
                  <c:v>66.798254205025003</c:v>
                </c:pt>
                <c:pt idx="276">
                  <c:v>70.847519827111</c:v>
                </c:pt>
                <c:pt idx="277">
                  <c:v>85.736109451236004</c:v>
                </c:pt>
                <c:pt idx="278">
                  <c:v>47.939887549698</c:v>
                </c:pt>
                <c:pt idx="279">
                  <c:v>29.227404867406001</c:v>
                </c:pt>
                <c:pt idx="280">
                  <c:v>94.782237808633994</c:v>
                </c:pt>
                <c:pt idx="281">
                  <c:v>102.08964747168601</c:v>
                </c:pt>
                <c:pt idx="282">
                  <c:v>107.037586867187</c:v>
                </c:pt>
                <c:pt idx="283">
                  <c:v>75.066907460997001</c:v>
                </c:pt>
                <c:pt idx="284">
                  <c:v>103.085927108273</c:v>
                </c:pt>
                <c:pt idx="285">
                  <c:v>78.870485775540999</c:v>
                </c:pt>
                <c:pt idx="286">
                  <c:v>43.383706637149999</c:v>
                </c:pt>
                <c:pt idx="287">
                  <c:v>106.58289624996399</c:v>
                </c:pt>
                <c:pt idx="288">
                  <c:v>139.87127294230001</c:v>
                </c:pt>
                <c:pt idx="289">
                  <c:v>91.161338476352</c:v>
                </c:pt>
                <c:pt idx="290">
                  <c:v>119.779099698824</c:v>
                </c:pt>
                <c:pt idx="291">
                  <c:v>141.66876437908601</c:v>
                </c:pt>
                <c:pt idx="292">
                  <c:v>94.534607886887002</c:v>
                </c:pt>
                <c:pt idx="293">
                  <c:v>65.850589715547997</c:v>
                </c:pt>
                <c:pt idx="294">
                  <c:v>141.189312324996</c:v>
                </c:pt>
                <c:pt idx="295">
                  <c:v>163.137029106764</c:v>
                </c:pt>
                <c:pt idx="296">
                  <c:v>113.362876385967</c:v>
                </c:pt>
                <c:pt idx="297">
                  <c:v>160.721406005582</c:v>
                </c:pt>
                <c:pt idx="298">
                  <c:v>129.66837469775299</c:v>
                </c:pt>
                <c:pt idx="299">
                  <c:v>87.994418639730995</c:v>
                </c:pt>
                <c:pt idx="300">
                  <c:v>71.854475777478001</c:v>
                </c:pt>
                <c:pt idx="301">
                  <c:v>149.01990753123599</c:v>
                </c:pt>
                <c:pt idx="302">
                  <c:v>118.494094614958</c:v>
                </c:pt>
                <c:pt idx="303">
                  <c:v>123.06289881494899</c:v>
                </c:pt>
                <c:pt idx="304">
                  <c:v>98.332310413325004</c:v>
                </c:pt>
                <c:pt idx="305">
                  <c:v>121.712906301347</c:v>
                </c:pt>
                <c:pt idx="306">
                  <c:v>71.268580737120004</c:v>
                </c:pt>
                <c:pt idx="307">
                  <c:v>51.710529896851</c:v>
                </c:pt>
                <c:pt idx="308">
                  <c:v>139.58413554100801</c:v>
                </c:pt>
                <c:pt idx="309">
                  <c:v>119.678815458049</c:v>
                </c:pt>
                <c:pt idx="310">
                  <c:v>98.004653458364999</c:v>
                </c:pt>
                <c:pt idx="311">
                  <c:v>90.050814388118994</c:v>
                </c:pt>
                <c:pt idx="312">
                  <c:v>84.738952889524995</c:v>
                </c:pt>
                <c:pt idx="313">
                  <c:v>65.322059773353999</c:v>
                </c:pt>
                <c:pt idx="314">
                  <c:v>55.943232341077</c:v>
                </c:pt>
                <c:pt idx="315">
                  <c:v>79.534980525079007</c:v>
                </c:pt>
                <c:pt idx="316">
                  <c:v>103.649514424557</c:v>
                </c:pt>
                <c:pt idx="317">
                  <c:v>60.013522034078001</c:v>
                </c:pt>
                <c:pt idx="318">
                  <c:v>56.203131977272001</c:v>
                </c:pt>
                <c:pt idx="319">
                  <c:v>61.938437896914998</c:v>
                </c:pt>
                <c:pt idx="320">
                  <c:v>45.639104844039998</c:v>
                </c:pt>
                <c:pt idx="321">
                  <c:v>30.771658513492</c:v>
                </c:pt>
                <c:pt idx="322">
                  <c:v>79.702232459531004</c:v>
                </c:pt>
                <c:pt idx="323">
                  <c:v>74.871390273158994</c:v>
                </c:pt>
                <c:pt idx="324">
                  <c:v>39.798893753198001</c:v>
                </c:pt>
                <c:pt idx="325">
                  <c:v>61.956858461186997</c:v>
                </c:pt>
                <c:pt idx="326">
                  <c:v>20.384367636147001</c:v>
                </c:pt>
                <c:pt idx="327">
                  <c:v>13.863404689092</c:v>
                </c:pt>
                <c:pt idx="328">
                  <c:v>18.761879124554</c:v>
                </c:pt>
                <c:pt idx="329">
                  <c:v>69.872585285655006</c:v>
                </c:pt>
                <c:pt idx="330">
                  <c:v>77.098445595854002</c:v>
                </c:pt>
                <c:pt idx="331">
                  <c:v>33.467482157648</c:v>
                </c:pt>
                <c:pt idx="332">
                  <c:v>61.553509393234002</c:v>
                </c:pt>
                <c:pt idx="333">
                  <c:v>46.461335721163998</c:v>
                </c:pt>
                <c:pt idx="334">
                  <c:v>14.371095500156001</c:v>
                </c:pt>
                <c:pt idx="335">
                  <c:v>29.649207519038999</c:v>
                </c:pt>
                <c:pt idx="336">
                  <c:v>90.619202721994995</c:v>
                </c:pt>
                <c:pt idx="337">
                  <c:v>76.085734789336996</c:v>
                </c:pt>
                <c:pt idx="338">
                  <c:v>54.243219597550002</c:v>
                </c:pt>
                <c:pt idx="339">
                  <c:v>48.791739115006003</c:v>
                </c:pt>
                <c:pt idx="340">
                  <c:v>54.480573135629001</c:v>
                </c:pt>
                <c:pt idx="341">
                  <c:v>34.657935299107002</c:v>
                </c:pt>
                <c:pt idx="342">
                  <c:v>21.032994366815</c:v>
                </c:pt>
                <c:pt idx="343">
                  <c:v>54.469247955095</c:v>
                </c:pt>
                <c:pt idx="344">
                  <c:v>91.416204921548996</c:v>
                </c:pt>
                <c:pt idx="345">
                  <c:v>107.605032895047</c:v>
                </c:pt>
                <c:pt idx="346">
                  <c:v>83.043793669581007</c:v>
                </c:pt>
                <c:pt idx="347">
                  <c:v>83.354333456103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A0B-4754-90A8-6FC4E50C7F8C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Ukončené očkování - s posilující dávkou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70AD47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9</c:f>
              <c:numCache>
                <c:formatCode>m/d/yyyy</c:formatCode>
                <c:ptCount val="34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</c:numCache>
            </c:numRef>
          </c:cat>
          <c:val>
            <c:numRef>
              <c:f>List1!$D$2:$D$349</c:f>
              <c:numCache>
                <c:formatCode>General</c:formatCode>
                <c:ptCount val="348"/>
                <c:pt idx="226">
                  <c:v>0</c:v>
                </c:pt>
                <c:pt idx="228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13.86962552011</c:v>
                </c:pt>
                <c:pt idx="247">
                  <c:v>11.595547309833</c:v>
                </c:pt>
                <c:pt idx="248">
                  <c:v>0</c:v>
                </c:pt>
                <c:pt idx="249">
                  <c:v>0</c:v>
                </c:pt>
                <c:pt idx="250">
                  <c:v>7.9529187211699996</c:v>
                </c:pt>
                <c:pt idx="251">
                  <c:v>0</c:v>
                </c:pt>
                <c:pt idx="252">
                  <c:v>0</c:v>
                </c:pt>
                <c:pt idx="253">
                  <c:v>6.5750542441970001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4.808385824878</c:v>
                </c:pt>
                <c:pt idx="258">
                  <c:v>0</c:v>
                </c:pt>
                <c:pt idx="259">
                  <c:v>4.4762757385849996</c:v>
                </c:pt>
                <c:pt idx="260">
                  <c:v>8.3959531505810006</c:v>
                </c:pt>
                <c:pt idx="261">
                  <c:v>11.683152893527</c:v>
                </c:pt>
                <c:pt idx="262">
                  <c:v>0</c:v>
                </c:pt>
                <c:pt idx="263">
                  <c:v>6.4655869136520003</c:v>
                </c:pt>
                <c:pt idx="264">
                  <c:v>6.3718618580340003</c:v>
                </c:pt>
                <c:pt idx="265">
                  <c:v>0</c:v>
                </c:pt>
                <c:pt idx="266">
                  <c:v>17.880025032035</c:v>
                </c:pt>
                <c:pt idx="267">
                  <c:v>11.244483175441999</c:v>
                </c:pt>
                <c:pt idx="268">
                  <c:v>15.525941260188</c:v>
                </c:pt>
                <c:pt idx="269">
                  <c:v>10.252729789306001</c:v>
                </c:pt>
                <c:pt idx="270">
                  <c:v>26.75747993189</c:v>
                </c:pt>
                <c:pt idx="271">
                  <c:v>14.475620642235</c:v>
                </c:pt>
                <c:pt idx="272">
                  <c:v>9.5769387315339998</c:v>
                </c:pt>
                <c:pt idx="273">
                  <c:v>29.933225880727001</c:v>
                </c:pt>
                <c:pt idx="274">
                  <c:v>15.433459740717</c:v>
                </c:pt>
                <c:pt idx="275">
                  <c:v>18.896844227014</c:v>
                </c:pt>
                <c:pt idx="276">
                  <c:v>13.853156540668</c:v>
                </c:pt>
                <c:pt idx="277">
                  <c:v>29.483848379308998</c:v>
                </c:pt>
                <c:pt idx="278">
                  <c:v>21.89661149937</c:v>
                </c:pt>
                <c:pt idx="279">
                  <c:v>7.2593963811900002</c:v>
                </c:pt>
                <c:pt idx="280">
                  <c:v>29.937483490358002</c:v>
                </c:pt>
                <c:pt idx="281">
                  <c:v>47.768527364542003</c:v>
                </c:pt>
                <c:pt idx="282">
                  <c:v>27.978012573648002</c:v>
                </c:pt>
                <c:pt idx="283">
                  <c:v>30.238405958556999</c:v>
                </c:pt>
                <c:pt idx="284">
                  <c:v>46.806583119431998</c:v>
                </c:pt>
                <c:pt idx="285">
                  <c:v>18.014772113132</c:v>
                </c:pt>
                <c:pt idx="286">
                  <c:v>11.966195497717999</c:v>
                </c:pt>
                <c:pt idx="287">
                  <c:v>54.114928407412002</c:v>
                </c:pt>
                <c:pt idx="288">
                  <c:v>57.947253865504997</c:v>
                </c:pt>
                <c:pt idx="289">
                  <c:v>26.719543236439002</c:v>
                </c:pt>
                <c:pt idx="290">
                  <c:v>30.153095489371001</c:v>
                </c:pt>
                <c:pt idx="291">
                  <c:v>59.378504981196002</c:v>
                </c:pt>
                <c:pt idx="292">
                  <c:v>20.972604535325001</c:v>
                </c:pt>
                <c:pt idx="293">
                  <c:v>19.605792858263001</c:v>
                </c:pt>
                <c:pt idx="294">
                  <c:v>44.863742405209003</c:v>
                </c:pt>
                <c:pt idx="295">
                  <c:v>56.360607692595998</c:v>
                </c:pt>
                <c:pt idx="296">
                  <c:v>31.859231212242999</c:v>
                </c:pt>
                <c:pt idx="297">
                  <c:v>55.061465353171002</c:v>
                </c:pt>
                <c:pt idx="298">
                  <c:v>40.270618556701002</c:v>
                </c:pt>
                <c:pt idx="299">
                  <c:v>28.590706876635998</c:v>
                </c:pt>
                <c:pt idx="300">
                  <c:v>26.172052799271</c:v>
                </c:pt>
                <c:pt idx="301">
                  <c:v>50.279329608937999</c:v>
                </c:pt>
                <c:pt idx="302">
                  <c:v>40.554167214694999</c:v>
                </c:pt>
                <c:pt idx="303">
                  <c:v>49.508147319026001</c:v>
                </c:pt>
                <c:pt idx="304">
                  <c:v>43.180166612252002</c:v>
                </c:pt>
                <c:pt idx="305">
                  <c:v>45.651446136365003</c:v>
                </c:pt>
                <c:pt idx="306">
                  <c:v>22.196214536502001</c:v>
                </c:pt>
                <c:pt idx="307">
                  <c:v>24.130788875705999</c:v>
                </c:pt>
                <c:pt idx="308">
                  <c:v>51.494325721415002</c:v>
                </c:pt>
                <c:pt idx="309">
                  <c:v>41.877678223606999</c:v>
                </c:pt>
                <c:pt idx="310">
                  <c:v>30.606779401636999</c:v>
                </c:pt>
                <c:pt idx="311">
                  <c:v>37.578091972380001</c:v>
                </c:pt>
                <c:pt idx="312">
                  <c:v>26.493938369616998</c:v>
                </c:pt>
                <c:pt idx="313">
                  <c:v>15.442472248968</c:v>
                </c:pt>
                <c:pt idx="314">
                  <c:v>9.0525591584740006</c:v>
                </c:pt>
                <c:pt idx="315">
                  <c:v>39.366556321015999</c:v>
                </c:pt>
                <c:pt idx="316">
                  <c:v>38.004330726059003</c:v>
                </c:pt>
                <c:pt idx="317">
                  <c:v>34.893965960936001</c:v>
                </c:pt>
                <c:pt idx="318">
                  <c:v>15.468037020168</c:v>
                </c:pt>
                <c:pt idx="319">
                  <c:v>32.015367376340002</c:v>
                </c:pt>
                <c:pt idx="320">
                  <c:v>15.947758500574</c:v>
                </c:pt>
                <c:pt idx="321">
                  <c:v>14.229871010404</c:v>
                </c:pt>
                <c:pt idx="322">
                  <c:v>26.506742652661998</c:v>
                </c:pt>
                <c:pt idx="323">
                  <c:v>29.517390662665001</c:v>
                </c:pt>
                <c:pt idx="324">
                  <c:v>17.880364109232001</c:v>
                </c:pt>
                <c:pt idx="325">
                  <c:v>19.436818192861001</c:v>
                </c:pt>
                <c:pt idx="326">
                  <c:v>5.6687506073660003</c:v>
                </c:pt>
                <c:pt idx="327">
                  <c:v>4.8588503959959999</c:v>
                </c:pt>
                <c:pt idx="328">
                  <c:v>7.2870953637870004</c:v>
                </c:pt>
                <c:pt idx="329">
                  <c:v>28.128490946644</c:v>
                </c:pt>
                <c:pt idx="330">
                  <c:v>29.496643760264</c:v>
                </c:pt>
                <c:pt idx="331">
                  <c:v>27.661861406170001</c:v>
                </c:pt>
                <c:pt idx="332">
                  <c:v>15.694275513006</c:v>
                </c:pt>
                <c:pt idx="333">
                  <c:v>25.070903649382998</c:v>
                </c:pt>
                <c:pt idx="334">
                  <c:v>5.4840023816230001</c:v>
                </c:pt>
                <c:pt idx="335">
                  <c:v>25.81917190874</c:v>
                </c:pt>
                <c:pt idx="336">
                  <c:v>60.555715139705001</c:v>
                </c:pt>
                <c:pt idx="337">
                  <c:v>50.752443422559999</c:v>
                </c:pt>
                <c:pt idx="338">
                  <c:v>37.312580431454997</c:v>
                </c:pt>
                <c:pt idx="339">
                  <c:v>39.150435548594999</c:v>
                </c:pt>
                <c:pt idx="340">
                  <c:v>45.073003487615999</c:v>
                </c:pt>
                <c:pt idx="341">
                  <c:v>23.573612287745</c:v>
                </c:pt>
                <c:pt idx="342">
                  <c:v>27.21428676503</c:v>
                </c:pt>
                <c:pt idx="343">
                  <c:v>62.083220731413</c:v>
                </c:pt>
                <c:pt idx="344">
                  <c:v>74.664192358156001</c:v>
                </c:pt>
                <c:pt idx="345">
                  <c:v>89.124637931158006</c:v>
                </c:pt>
                <c:pt idx="346">
                  <c:v>61.326943921500998</c:v>
                </c:pt>
                <c:pt idx="347">
                  <c:v>76.19370132068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A0B-4754-90A8-6FC4E50C7F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184</c:f>
              <c:numCache>
                <c:formatCode>m/d/yyyy</c:formatCode>
                <c:ptCount val="183"/>
                <c:pt idx="0">
                  <c:v>44393</c:v>
                </c:pt>
                <c:pt idx="1">
                  <c:v>44394</c:v>
                </c:pt>
                <c:pt idx="2">
                  <c:v>44395</c:v>
                </c:pt>
                <c:pt idx="3">
                  <c:v>44396</c:v>
                </c:pt>
                <c:pt idx="4">
                  <c:v>44397</c:v>
                </c:pt>
                <c:pt idx="5">
                  <c:v>44398</c:v>
                </c:pt>
                <c:pt idx="6">
                  <c:v>44399</c:v>
                </c:pt>
                <c:pt idx="7">
                  <c:v>44400</c:v>
                </c:pt>
                <c:pt idx="8">
                  <c:v>44401</c:v>
                </c:pt>
                <c:pt idx="9">
                  <c:v>44402</c:v>
                </c:pt>
                <c:pt idx="10">
                  <c:v>44403</c:v>
                </c:pt>
                <c:pt idx="11">
                  <c:v>44404</c:v>
                </c:pt>
                <c:pt idx="12">
                  <c:v>44405</c:v>
                </c:pt>
                <c:pt idx="13">
                  <c:v>44406</c:v>
                </c:pt>
                <c:pt idx="14">
                  <c:v>44407</c:v>
                </c:pt>
                <c:pt idx="15">
                  <c:v>44408</c:v>
                </c:pt>
                <c:pt idx="16">
                  <c:v>44409</c:v>
                </c:pt>
                <c:pt idx="17">
                  <c:v>44410</c:v>
                </c:pt>
                <c:pt idx="18">
                  <c:v>44411</c:v>
                </c:pt>
                <c:pt idx="19">
                  <c:v>44412</c:v>
                </c:pt>
                <c:pt idx="20">
                  <c:v>44413</c:v>
                </c:pt>
                <c:pt idx="21">
                  <c:v>44414</c:v>
                </c:pt>
                <c:pt idx="22">
                  <c:v>44415</c:v>
                </c:pt>
                <c:pt idx="23">
                  <c:v>44416</c:v>
                </c:pt>
                <c:pt idx="24">
                  <c:v>44417</c:v>
                </c:pt>
                <c:pt idx="25">
                  <c:v>44418</c:v>
                </c:pt>
                <c:pt idx="26">
                  <c:v>44419</c:v>
                </c:pt>
                <c:pt idx="27">
                  <c:v>44420</c:v>
                </c:pt>
                <c:pt idx="28">
                  <c:v>44421</c:v>
                </c:pt>
                <c:pt idx="29">
                  <c:v>44422</c:v>
                </c:pt>
                <c:pt idx="30">
                  <c:v>44423</c:v>
                </c:pt>
                <c:pt idx="31">
                  <c:v>44424</c:v>
                </c:pt>
                <c:pt idx="32">
                  <c:v>44425</c:v>
                </c:pt>
                <c:pt idx="33">
                  <c:v>44426</c:v>
                </c:pt>
                <c:pt idx="34">
                  <c:v>44427</c:v>
                </c:pt>
                <c:pt idx="35">
                  <c:v>44428</c:v>
                </c:pt>
                <c:pt idx="36">
                  <c:v>44429</c:v>
                </c:pt>
                <c:pt idx="37">
                  <c:v>44430</c:v>
                </c:pt>
                <c:pt idx="38">
                  <c:v>44431</c:v>
                </c:pt>
                <c:pt idx="39">
                  <c:v>44432</c:v>
                </c:pt>
                <c:pt idx="40">
                  <c:v>44433</c:v>
                </c:pt>
                <c:pt idx="41">
                  <c:v>44434</c:v>
                </c:pt>
                <c:pt idx="42">
                  <c:v>44435</c:v>
                </c:pt>
                <c:pt idx="43">
                  <c:v>44436</c:v>
                </c:pt>
                <c:pt idx="44">
                  <c:v>44437</c:v>
                </c:pt>
                <c:pt idx="45">
                  <c:v>44438</c:v>
                </c:pt>
                <c:pt idx="46">
                  <c:v>44439</c:v>
                </c:pt>
                <c:pt idx="47">
                  <c:v>44440</c:v>
                </c:pt>
                <c:pt idx="48">
                  <c:v>44441</c:v>
                </c:pt>
                <c:pt idx="49">
                  <c:v>44442</c:v>
                </c:pt>
                <c:pt idx="50">
                  <c:v>44443</c:v>
                </c:pt>
                <c:pt idx="51">
                  <c:v>44444</c:v>
                </c:pt>
                <c:pt idx="52">
                  <c:v>44445</c:v>
                </c:pt>
                <c:pt idx="53">
                  <c:v>44446</c:v>
                </c:pt>
                <c:pt idx="54">
                  <c:v>44447</c:v>
                </c:pt>
                <c:pt idx="55">
                  <c:v>44448</c:v>
                </c:pt>
                <c:pt idx="56">
                  <c:v>44449</c:v>
                </c:pt>
                <c:pt idx="57">
                  <c:v>44450</c:v>
                </c:pt>
                <c:pt idx="58">
                  <c:v>44451</c:v>
                </c:pt>
                <c:pt idx="59">
                  <c:v>44452</c:v>
                </c:pt>
                <c:pt idx="60">
                  <c:v>44453</c:v>
                </c:pt>
                <c:pt idx="61">
                  <c:v>44454</c:v>
                </c:pt>
                <c:pt idx="62">
                  <c:v>44455</c:v>
                </c:pt>
                <c:pt idx="63">
                  <c:v>44456</c:v>
                </c:pt>
                <c:pt idx="64">
                  <c:v>44457</c:v>
                </c:pt>
                <c:pt idx="65">
                  <c:v>44458</c:v>
                </c:pt>
                <c:pt idx="66">
                  <c:v>44459</c:v>
                </c:pt>
                <c:pt idx="67">
                  <c:v>44460</c:v>
                </c:pt>
                <c:pt idx="68">
                  <c:v>44461</c:v>
                </c:pt>
                <c:pt idx="69">
                  <c:v>44462</c:v>
                </c:pt>
                <c:pt idx="70">
                  <c:v>44463</c:v>
                </c:pt>
                <c:pt idx="71">
                  <c:v>44464</c:v>
                </c:pt>
                <c:pt idx="72">
                  <c:v>44465</c:v>
                </c:pt>
                <c:pt idx="73">
                  <c:v>44466</c:v>
                </c:pt>
                <c:pt idx="74">
                  <c:v>44467</c:v>
                </c:pt>
                <c:pt idx="75">
                  <c:v>44468</c:v>
                </c:pt>
                <c:pt idx="76">
                  <c:v>44469</c:v>
                </c:pt>
                <c:pt idx="77">
                  <c:v>44470</c:v>
                </c:pt>
                <c:pt idx="78">
                  <c:v>44471</c:v>
                </c:pt>
                <c:pt idx="79">
                  <c:v>44472</c:v>
                </c:pt>
                <c:pt idx="80">
                  <c:v>44473</c:v>
                </c:pt>
                <c:pt idx="81">
                  <c:v>44474</c:v>
                </c:pt>
                <c:pt idx="82">
                  <c:v>44475</c:v>
                </c:pt>
                <c:pt idx="83">
                  <c:v>44476</c:v>
                </c:pt>
                <c:pt idx="84">
                  <c:v>44477</c:v>
                </c:pt>
                <c:pt idx="85">
                  <c:v>44478</c:v>
                </c:pt>
                <c:pt idx="86">
                  <c:v>44479</c:v>
                </c:pt>
                <c:pt idx="87">
                  <c:v>44480</c:v>
                </c:pt>
                <c:pt idx="88">
                  <c:v>44481</c:v>
                </c:pt>
                <c:pt idx="89">
                  <c:v>44482</c:v>
                </c:pt>
                <c:pt idx="90">
                  <c:v>44483</c:v>
                </c:pt>
                <c:pt idx="91">
                  <c:v>44484</c:v>
                </c:pt>
                <c:pt idx="92">
                  <c:v>44485</c:v>
                </c:pt>
                <c:pt idx="93">
                  <c:v>44486</c:v>
                </c:pt>
                <c:pt idx="94">
                  <c:v>44487</c:v>
                </c:pt>
                <c:pt idx="95">
                  <c:v>44488</c:v>
                </c:pt>
                <c:pt idx="96">
                  <c:v>44489</c:v>
                </c:pt>
                <c:pt idx="97">
                  <c:v>44490</c:v>
                </c:pt>
                <c:pt idx="98">
                  <c:v>44491</c:v>
                </c:pt>
                <c:pt idx="99">
                  <c:v>44492</c:v>
                </c:pt>
                <c:pt idx="100">
                  <c:v>44493</c:v>
                </c:pt>
                <c:pt idx="101">
                  <c:v>44494</c:v>
                </c:pt>
                <c:pt idx="102">
                  <c:v>44495</c:v>
                </c:pt>
                <c:pt idx="103">
                  <c:v>44496</c:v>
                </c:pt>
                <c:pt idx="104">
                  <c:v>44497</c:v>
                </c:pt>
                <c:pt idx="105">
                  <c:v>44498</c:v>
                </c:pt>
                <c:pt idx="106">
                  <c:v>44499</c:v>
                </c:pt>
                <c:pt idx="107">
                  <c:v>44500</c:v>
                </c:pt>
                <c:pt idx="108">
                  <c:v>44501</c:v>
                </c:pt>
                <c:pt idx="109">
                  <c:v>44502</c:v>
                </c:pt>
                <c:pt idx="110">
                  <c:v>44503</c:v>
                </c:pt>
                <c:pt idx="111">
                  <c:v>44504</c:v>
                </c:pt>
                <c:pt idx="112">
                  <c:v>44505</c:v>
                </c:pt>
                <c:pt idx="113">
                  <c:v>44506</c:v>
                </c:pt>
                <c:pt idx="114">
                  <c:v>44507</c:v>
                </c:pt>
                <c:pt idx="115">
                  <c:v>44508</c:v>
                </c:pt>
                <c:pt idx="116">
                  <c:v>44509</c:v>
                </c:pt>
                <c:pt idx="117">
                  <c:v>44510</c:v>
                </c:pt>
                <c:pt idx="118">
                  <c:v>44511</c:v>
                </c:pt>
                <c:pt idx="119">
                  <c:v>44512</c:v>
                </c:pt>
                <c:pt idx="120">
                  <c:v>44513</c:v>
                </c:pt>
                <c:pt idx="121">
                  <c:v>44514</c:v>
                </c:pt>
                <c:pt idx="122">
                  <c:v>44515</c:v>
                </c:pt>
                <c:pt idx="123">
                  <c:v>44516</c:v>
                </c:pt>
                <c:pt idx="124">
                  <c:v>44517</c:v>
                </c:pt>
                <c:pt idx="125">
                  <c:v>44518</c:v>
                </c:pt>
                <c:pt idx="126">
                  <c:v>44519</c:v>
                </c:pt>
                <c:pt idx="127">
                  <c:v>44520</c:v>
                </c:pt>
                <c:pt idx="128">
                  <c:v>44521</c:v>
                </c:pt>
                <c:pt idx="129">
                  <c:v>44522</c:v>
                </c:pt>
                <c:pt idx="130">
                  <c:v>44523</c:v>
                </c:pt>
                <c:pt idx="131">
                  <c:v>44524</c:v>
                </c:pt>
                <c:pt idx="132">
                  <c:v>44525</c:v>
                </c:pt>
                <c:pt idx="133">
                  <c:v>44526</c:v>
                </c:pt>
                <c:pt idx="134">
                  <c:v>44527</c:v>
                </c:pt>
                <c:pt idx="135">
                  <c:v>44528</c:v>
                </c:pt>
                <c:pt idx="136">
                  <c:v>44529</c:v>
                </c:pt>
                <c:pt idx="137">
                  <c:v>44530</c:v>
                </c:pt>
                <c:pt idx="138">
                  <c:v>44531</c:v>
                </c:pt>
                <c:pt idx="139">
                  <c:v>44532</c:v>
                </c:pt>
                <c:pt idx="140">
                  <c:v>44533</c:v>
                </c:pt>
                <c:pt idx="141">
                  <c:v>44534</c:v>
                </c:pt>
                <c:pt idx="142">
                  <c:v>44535</c:v>
                </c:pt>
                <c:pt idx="143">
                  <c:v>44536</c:v>
                </c:pt>
                <c:pt idx="144">
                  <c:v>44537</c:v>
                </c:pt>
                <c:pt idx="145">
                  <c:v>44538</c:v>
                </c:pt>
                <c:pt idx="146">
                  <c:v>44539</c:v>
                </c:pt>
                <c:pt idx="147">
                  <c:v>44540</c:v>
                </c:pt>
                <c:pt idx="148">
                  <c:v>44541</c:v>
                </c:pt>
                <c:pt idx="149">
                  <c:v>44542</c:v>
                </c:pt>
                <c:pt idx="150">
                  <c:v>44543</c:v>
                </c:pt>
                <c:pt idx="151">
                  <c:v>44544</c:v>
                </c:pt>
                <c:pt idx="152">
                  <c:v>44545</c:v>
                </c:pt>
                <c:pt idx="153">
                  <c:v>44546</c:v>
                </c:pt>
                <c:pt idx="154">
                  <c:v>44547</c:v>
                </c:pt>
                <c:pt idx="155">
                  <c:v>44548</c:v>
                </c:pt>
                <c:pt idx="156">
                  <c:v>44549</c:v>
                </c:pt>
                <c:pt idx="157">
                  <c:v>44550</c:v>
                </c:pt>
                <c:pt idx="158">
                  <c:v>44551</c:v>
                </c:pt>
                <c:pt idx="159">
                  <c:v>44552</c:v>
                </c:pt>
                <c:pt idx="160">
                  <c:v>44553</c:v>
                </c:pt>
                <c:pt idx="161">
                  <c:v>44554</c:v>
                </c:pt>
                <c:pt idx="162">
                  <c:v>44555</c:v>
                </c:pt>
                <c:pt idx="163">
                  <c:v>44556</c:v>
                </c:pt>
                <c:pt idx="164">
                  <c:v>44557</c:v>
                </c:pt>
                <c:pt idx="165">
                  <c:v>44558</c:v>
                </c:pt>
                <c:pt idx="166">
                  <c:v>44559</c:v>
                </c:pt>
                <c:pt idx="167">
                  <c:v>44560</c:v>
                </c:pt>
                <c:pt idx="168">
                  <c:v>44561</c:v>
                </c:pt>
                <c:pt idx="169">
                  <c:v>44562</c:v>
                </c:pt>
                <c:pt idx="170">
                  <c:v>44563</c:v>
                </c:pt>
                <c:pt idx="171">
                  <c:v>44564</c:v>
                </c:pt>
                <c:pt idx="172">
                  <c:v>44565</c:v>
                </c:pt>
                <c:pt idx="173">
                  <c:v>44566</c:v>
                </c:pt>
                <c:pt idx="174">
                  <c:v>44567</c:v>
                </c:pt>
                <c:pt idx="175">
                  <c:v>44568</c:v>
                </c:pt>
                <c:pt idx="176">
                  <c:v>44569</c:v>
                </c:pt>
                <c:pt idx="177">
                  <c:v>44570</c:v>
                </c:pt>
                <c:pt idx="178">
                  <c:v>44571</c:v>
                </c:pt>
                <c:pt idx="179">
                  <c:v>44572</c:v>
                </c:pt>
                <c:pt idx="180">
                  <c:v>44573</c:v>
                </c:pt>
                <c:pt idx="181">
                  <c:v>44574</c:v>
                </c:pt>
                <c:pt idx="182">
                  <c:v>44575</c:v>
                </c:pt>
              </c:numCache>
            </c:numRef>
          </c:cat>
          <c:val>
            <c:numRef>
              <c:f>Sheet1!$B$2:$B$184</c:f>
              <c:numCache>
                <c:formatCode>#\ ##0_ ;\-#\ ##0\ 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2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1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3</c:v>
                </c:pt>
                <c:pt idx="48">
                  <c:v>1</c:v>
                </c:pt>
                <c:pt idx="49">
                  <c:v>1</c:v>
                </c:pt>
                <c:pt idx="50">
                  <c:v>0</c:v>
                </c:pt>
                <c:pt idx="51">
                  <c:v>0</c:v>
                </c:pt>
                <c:pt idx="52">
                  <c:v>1</c:v>
                </c:pt>
                <c:pt idx="53">
                  <c:v>2</c:v>
                </c:pt>
                <c:pt idx="54">
                  <c:v>1</c:v>
                </c:pt>
                <c:pt idx="55">
                  <c:v>1</c:v>
                </c:pt>
                <c:pt idx="56">
                  <c:v>0</c:v>
                </c:pt>
                <c:pt idx="57">
                  <c:v>0</c:v>
                </c:pt>
                <c:pt idx="58">
                  <c:v>1</c:v>
                </c:pt>
                <c:pt idx="59">
                  <c:v>0</c:v>
                </c:pt>
                <c:pt idx="60">
                  <c:v>1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1</c:v>
                </c:pt>
                <c:pt idx="65">
                  <c:v>0</c:v>
                </c:pt>
                <c:pt idx="66">
                  <c:v>4</c:v>
                </c:pt>
                <c:pt idx="67">
                  <c:v>4</c:v>
                </c:pt>
                <c:pt idx="68">
                  <c:v>2</c:v>
                </c:pt>
                <c:pt idx="69">
                  <c:v>0</c:v>
                </c:pt>
                <c:pt idx="70">
                  <c:v>0</c:v>
                </c:pt>
                <c:pt idx="71">
                  <c:v>1</c:v>
                </c:pt>
                <c:pt idx="72">
                  <c:v>1</c:v>
                </c:pt>
                <c:pt idx="73">
                  <c:v>5</c:v>
                </c:pt>
                <c:pt idx="74">
                  <c:v>2</c:v>
                </c:pt>
                <c:pt idx="75">
                  <c:v>7</c:v>
                </c:pt>
                <c:pt idx="76">
                  <c:v>3</c:v>
                </c:pt>
                <c:pt idx="77">
                  <c:v>2</c:v>
                </c:pt>
                <c:pt idx="78">
                  <c:v>0</c:v>
                </c:pt>
                <c:pt idx="79">
                  <c:v>0</c:v>
                </c:pt>
                <c:pt idx="80">
                  <c:v>3</c:v>
                </c:pt>
                <c:pt idx="81">
                  <c:v>5</c:v>
                </c:pt>
                <c:pt idx="82">
                  <c:v>2</c:v>
                </c:pt>
                <c:pt idx="83">
                  <c:v>1</c:v>
                </c:pt>
                <c:pt idx="84">
                  <c:v>2</c:v>
                </c:pt>
                <c:pt idx="85">
                  <c:v>1</c:v>
                </c:pt>
                <c:pt idx="86">
                  <c:v>0</c:v>
                </c:pt>
                <c:pt idx="87">
                  <c:v>2</c:v>
                </c:pt>
                <c:pt idx="88">
                  <c:v>3</c:v>
                </c:pt>
                <c:pt idx="89">
                  <c:v>1</c:v>
                </c:pt>
                <c:pt idx="90">
                  <c:v>3</c:v>
                </c:pt>
                <c:pt idx="91">
                  <c:v>6</c:v>
                </c:pt>
                <c:pt idx="92">
                  <c:v>2</c:v>
                </c:pt>
                <c:pt idx="93">
                  <c:v>1</c:v>
                </c:pt>
                <c:pt idx="94">
                  <c:v>12</c:v>
                </c:pt>
                <c:pt idx="95">
                  <c:v>8</c:v>
                </c:pt>
                <c:pt idx="96">
                  <c:v>9</c:v>
                </c:pt>
                <c:pt idx="97">
                  <c:v>7</c:v>
                </c:pt>
                <c:pt idx="98">
                  <c:v>10</c:v>
                </c:pt>
                <c:pt idx="99">
                  <c:v>0</c:v>
                </c:pt>
                <c:pt idx="100">
                  <c:v>3</c:v>
                </c:pt>
                <c:pt idx="101">
                  <c:v>19</c:v>
                </c:pt>
                <c:pt idx="102">
                  <c:v>5</c:v>
                </c:pt>
                <c:pt idx="103">
                  <c:v>17</c:v>
                </c:pt>
                <c:pt idx="104">
                  <c:v>3</c:v>
                </c:pt>
                <c:pt idx="105">
                  <c:v>8</c:v>
                </c:pt>
                <c:pt idx="106">
                  <c:v>5</c:v>
                </c:pt>
                <c:pt idx="107">
                  <c:v>4</c:v>
                </c:pt>
                <c:pt idx="108">
                  <c:v>41</c:v>
                </c:pt>
                <c:pt idx="109">
                  <c:v>25</c:v>
                </c:pt>
                <c:pt idx="110">
                  <c:v>19</c:v>
                </c:pt>
                <c:pt idx="111">
                  <c:v>24</c:v>
                </c:pt>
                <c:pt idx="112">
                  <c:v>27</c:v>
                </c:pt>
                <c:pt idx="113">
                  <c:v>13</c:v>
                </c:pt>
                <c:pt idx="114">
                  <c:v>5</c:v>
                </c:pt>
                <c:pt idx="115">
                  <c:v>51</c:v>
                </c:pt>
                <c:pt idx="116">
                  <c:v>25</c:v>
                </c:pt>
                <c:pt idx="117">
                  <c:v>29</c:v>
                </c:pt>
                <c:pt idx="118">
                  <c:v>36</c:v>
                </c:pt>
                <c:pt idx="119">
                  <c:v>34</c:v>
                </c:pt>
                <c:pt idx="120">
                  <c:v>20</c:v>
                </c:pt>
                <c:pt idx="121">
                  <c:v>14</c:v>
                </c:pt>
                <c:pt idx="122">
                  <c:v>55</c:v>
                </c:pt>
                <c:pt idx="123">
                  <c:v>33</c:v>
                </c:pt>
                <c:pt idx="124">
                  <c:v>13</c:v>
                </c:pt>
                <c:pt idx="125">
                  <c:v>42</c:v>
                </c:pt>
                <c:pt idx="126">
                  <c:v>52</c:v>
                </c:pt>
                <c:pt idx="127">
                  <c:v>11</c:v>
                </c:pt>
                <c:pt idx="128">
                  <c:v>7</c:v>
                </c:pt>
                <c:pt idx="129">
                  <c:v>68</c:v>
                </c:pt>
                <c:pt idx="130">
                  <c:v>44</c:v>
                </c:pt>
                <c:pt idx="131">
                  <c:v>45</c:v>
                </c:pt>
                <c:pt idx="132">
                  <c:v>48</c:v>
                </c:pt>
                <c:pt idx="133">
                  <c:v>48</c:v>
                </c:pt>
                <c:pt idx="134">
                  <c:v>22</c:v>
                </c:pt>
                <c:pt idx="135">
                  <c:v>8</c:v>
                </c:pt>
                <c:pt idx="136">
                  <c:v>43</c:v>
                </c:pt>
                <c:pt idx="137">
                  <c:v>48</c:v>
                </c:pt>
                <c:pt idx="138">
                  <c:v>40</c:v>
                </c:pt>
                <c:pt idx="139">
                  <c:v>32</c:v>
                </c:pt>
                <c:pt idx="140">
                  <c:v>28</c:v>
                </c:pt>
                <c:pt idx="141">
                  <c:v>21</c:v>
                </c:pt>
                <c:pt idx="142">
                  <c:v>9</c:v>
                </c:pt>
                <c:pt idx="143">
                  <c:v>48</c:v>
                </c:pt>
                <c:pt idx="144">
                  <c:v>35</c:v>
                </c:pt>
                <c:pt idx="145">
                  <c:v>34</c:v>
                </c:pt>
                <c:pt idx="146">
                  <c:v>25</c:v>
                </c:pt>
                <c:pt idx="147">
                  <c:v>18</c:v>
                </c:pt>
                <c:pt idx="148">
                  <c:v>13</c:v>
                </c:pt>
                <c:pt idx="149">
                  <c:v>7</c:v>
                </c:pt>
                <c:pt idx="150">
                  <c:v>30</c:v>
                </c:pt>
                <c:pt idx="151">
                  <c:v>36</c:v>
                </c:pt>
                <c:pt idx="152">
                  <c:v>28</c:v>
                </c:pt>
                <c:pt idx="153">
                  <c:v>17</c:v>
                </c:pt>
                <c:pt idx="154">
                  <c:v>14</c:v>
                </c:pt>
                <c:pt idx="155">
                  <c:v>8</c:v>
                </c:pt>
                <c:pt idx="156">
                  <c:v>10</c:v>
                </c:pt>
                <c:pt idx="157">
                  <c:v>25</c:v>
                </c:pt>
                <c:pt idx="158">
                  <c:v>12</c:v>
                </c:pt>
                <c:pt idx="159">
                  <c:v>8</c:v>
                </c:pt>
                <c:pt idx="160" formatCode="General">
                  <c:v>4</c:v>
                </c:pt>
                <c:pt idx="161" formatCode="General">
                  <c:v>7</c:v>
                </c:pt>
                <c:pt idx="162" formatCode="General">
                  <c:v>3</c:v>
                </c:pt>
                <c:pt idx="163" formatCode="General">
                  <c:v>4</c:v>
                </c:pt>
                <c:pt idx="164" formatCode="General">
                  <c:v>7</c:v>
                </c:pt>
                <c:pt idx="165" formatCode="General">
                  <c:v>17</c:v>
                </c:pt>
                <c:pt idx="166" formatCode="General">
                  <c:v>8</c:v>
                </c:pt>
                <c:pt idx="167" formatCode="General">
                  <c:v>14</c:v>
                </c:pt>
                <c:pt idx="168" formatCode="General">
                  <c:v>6</c:v>
                </c:pt>
                <c:pt idx="169" formatCode="General">
                  <c:v>0</c:v>
                </c:pt>
                <c:pt idx="170" formatCode="General">
                  <c:v>1</c:v>
                </c:pt>
                <c:pt idx="171" formatCode="General">
                  <c:v>14</c:v>
                </c:pt>
                <c:pt idx="172" formatCode="General">
                  <c:v>18</c:v>
                </c:pt>
                <c:pt idx="173" formatCode="General">
                  <c:v>9</c:v>
                </c:pt>
                <c:pt idx="174" formatCode="General">
                  <c:v>9</c:v>
                </c:pt>
                <c:pt idx="175" formatCode="General">
                  <c:v>6</c:v>
                </c:pt>
                <c:pt idx="176" formatCode="General">
                  <c:v>5</c:v>
                </c:pt>
                <c:pt idx="177" formatCode="General">
                  <c:v>2</c:v>
                </c:pt>
                <c:pt idx="178" formatCode="General">
                  <c:v>12</c:v>
                </c:pt>
                <c:pt idx="179" formatCode="General">
                  <c:v>16</c:v>
                </c:pt>
                <c:pt idx="180" formatCode="General">
                  <c:v>12</c:v>
                </c:pt>
                <c:pt idx="181" formatCode="General">
                  <c:v>15</c:v>
                </c:pt>
                <c:pt idx="182" formatCode="General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  <c:majorUnit val="7"/>
        <c:majorTimeUnit val="days"/>
      </c:date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29925759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34">
                  <c:v>0.1392709</c:v>
                </c:pt>
                <c:pt idx="35">
                  <c:v>0.41781269999999998</c:v>
                </c:pt>
                <c:pt idx="36">
                  <c:v>1.2534381999999999</c:v>
                </c:pt>
                <c:pt idx="37">
                  <c:v>2.7854182999999999</c:v>
                </c:pt>
                <c:pt idx="38">
                  <c:v>7.3813585000000002</c:v>
                </c:pt>
                <c:pt idx="39">
                  <c:v>46.237944300000002</c:v>
                </c:pt>
                <c:pt idx="40">
                  <c:v>84.537446399999993</c:v>
                </c:pt>
                <c:pt idx="41">
                  <c:v>159.46519960000001</c:v>
                </c:pt>
                <c:pt idx="42">
                  <c:v>261.82932340000002</c:v>
                </c:pt>
                <c:pt idx="43">
                  <c:v>246.5095226</c:v>
                </c:pt>
                <c:pt idx="44">
                  <c:v>198.32178540000001</c:v>
                </c:pt>
                <c:pt idx="45">
                  <c:v>143.03123149999999</c:v>
                </c:pt>
                <c:pt idx="46">
                  <c:v>99.300163600000005</c:v>
                </c:pt>
                <c:pt idx="47">
                  <c:v>63.925350700000003</c:v>
                </c:pt>
                <c:pt idx="48">
                  <c:v>66.153685400000001</c:v>
                </c:pt>
                <c:pt idx="49">
                  <c:v>60.8613906</c:v>
                </c:pt>
                <c:pt idx="50">
                  <c:v>77.295358699999994</c:v>
                </c:pt>
                <c:pt idx="51">
                  <c:v>87.044322899999997</c:v>
                </c:pt>
                <c:pt idx="52">
                  <c:v>96.027297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5E-407A-AC1D-1838C2884016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105.7066258</c:v>
                </c:pt>
                <c:pt idx="1">
                  <c:v>95.400577900000002</c:v>
                </c:pt>
                <c:pt idx="2">
                  <c:v>64.180680800000005</c:v>
                </c:pt>
                <c:pt idx="3">
                  <c:v>56.126179399999998</c:v>
                </c:pt>
                <c:pt idx="4">
                  <c:v>45.263047899999997</c:v>
                </c:pt>
                <c:pt idx="5">
                  <c:v>34.121374600000003</c:v>
                </c:pt>
                <c:pt idx="6">
                  <c:v>32.728665399999997</c:v>
                </c:pt>
                <c:pt idx="7">
                  <c:v>33.703561800000003</c:v>
                </c:pt>
                <c:pt idx="8">
                  <c:v>33.703561800000003</c:v>
                </c:pt>
                <c:pt idx="9">
                  <c:v>30.7788726</c:v>
                </c:pt>
                <c:pt idx="10">
                  <c:v>20.194282900000001</c:v>
                </c:pt>
                <c:pt idx="11">
                  <c:v>14.0663625</c:v>
                </c:pt>
                <c:pt idx="12">
                  <c:v>10.3060478</c:v>
                </c:pt>
                <c:pt idx="13">
                  <c:v>8.7740676999999998</c:v>
                </c:pt>
                <c:pt idx="14">
                  <c:v>6.6850040000000002</c:v>
                </c:pt>
                <c:pt idx="15">
                  <c:v>4.3173984000000001</c:v>
                </c:pt>
                <c:pt idx="16">
                  <c:v>3.4817729000000002</c:v>
                </c:pt>
                <c:pt idx="17">
                  <c:v>1.8105218999999999</c:v>
                </c:pt>
                <c:pt idx="18">
                  <c:v>1.8105218999999999</c:v>
                </c:pt>
                <c:pt idx="19">
                  <c:v>1.9497928</c:v>
                </c:pt>
                <c:pt idx="20">
                  <c:v>1.1141673000000001</c:v>
                </c:pt>
                <c:pt idx="21">
                  <c:v>0.1392709</c:v>
                </c:pt>
                <c:pt idx="22">
                  <c:v>0.1392709</c:v>
                </c:pt>
                <c:pt idx="23">
                  <c:v>0</c:v>
                </c:pt>
                <c:pt idx="24">
                  <c:v>0</c:v>
                </c:pt>
                <c:pt idx="25">
                  <c:v>0.1392709</c:v>
                </c:pt>
                <c:pt idx="26">
                  <c:v>0</c:v>
                </c:pt>
                <c:pt idx="27">
                  <c:v>0.1392709</c:v>
                </c:pt>
                <c:pt idx="28">
                  <c:v>0.1392709</c:v>
                </c:pt>
                <c:pt idx="29">
                  <c:v>0.41781269999999998</c:v>
                </c:pt>
                <c:pt idx="30">
                  <c:v>0</c:v>
                </c:pt>
                <c:pt idx="31">
                  <c:v>0.27854180000000001</c:v>
                </c:pt>
                <c:pt idx="32">
                  <c:v>0</c:v>
                </c:pt>
                <c:pt idx="33">
                  <c:v>0.1392709</c:v>
                </c:pt>
                <c:pt idx="34">
                  <c:v>0.83562550000000002</c:v>
                </c:pt>
                <c:pt idx="35">
                  <c:v>0.83562550000000002</c:v>
                </c:pt>
                <c:pt idx="36">
                  <c:v>0.41781269999999998</c:v>
                </c:pt>
                <c:pt idx="37">
                  <c:v>1.5319799999999999</c:v>
                </c:pt>
                <c:pt idx="38">
                  <c:v>2.2283346000000002</c:v>
                </c:pt>
                <c:pt idx="39">
                  <c:v>2.0890637000000001</c:v>
                </c:pt>
                <c:pt idx="40">
                  <c:v>1.3927091</c:v>
                </c:pt>
                <c:pt idx="41">
                  <c:v>5.7101075000000003</c:v>
                </c:pt>
                <c:pt idx="42">
                  <c:v>8.4955259000000005</c:v>
                </c:pt>
                <c:pt idx="43">
                  <c:v>14.6234462</c:v>
                </c:pt>
                <c:pt idx="44">
                  <c:v>24.2331395</c:v>
                </c:pt>
                <c:pt idx="45">
                  <c:v>28.550537899999998</c:v>
                </c:pt>
                <c:pt idx="46">
                  <c:v>37.463876599999999</c:v>
                </c:pt>
                <c:pt idx="47">
                  <c:v>35.792625600000001</c:v>
                </c:pt>
                <c:pt idx="48">
                  <c:v>28.829079700000001</c:v>
                </c:pt>
                <c:pt idx="49">
                  <c:v>21.865533899999999</c:v>
                </c:pt>
                <c:pt idx="50">
                  <c:v>13.0914661</c:v>
                </c:pt>
                <c:pt idx="51">
                  <c:v>6.9635458000000003</c:v>
                </c:pt>
                <c:pt idx="52">
                  <c:v>9.7489641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5E-407A-AC1D-1838C2884016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7.9384421999999999</c:v>
                </c:pt>
                <c:pt idx="1">
                  <c:v>9.7489641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5E-407A-AC1D-1838C28840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Liberecký kraj</c:v>
                </c:pt>
                <c:pt idx="2">
                  <c:v>Královéhradecký kraj</c:v>
                </c:pt>
                <c:pt idx="3">
                  <c:v>Kraj Vysočina</c:v>
                </c:pt>
                <c:pt idx="4">
                  <c:v>Středočeský kraj</c:v>
                </c:pt>
                <c:pt idx="5">
                  <c:v>Jihočeský kraj</c:v>
                </c:pt>
                <c:pt idx="6">
                  <c:v>Pardubický kraj</c:v>
                </c:pt>
                <c:pt idx="7">
                  <c:v>Ústecký kraj</c:v>
                </c:pt>
                <c:pt idx="8">
                  <c:v>Hlavní město Praha</c:v>
                </c:pt>
                <c:pt idx="9">
                  <c:v>ČR</c:v>
                </c:pt>
                <c:pt idx="10">
                  <c:v>Olomoucký kraj</c:v>
                </c:pt>
                <c:pt idx="11">
                  <c:v>Zlínský kraj</c:v>
                </c:pt>
                <c:pt idx="12">
                  <c:v>Jihomoravský kraj</c:v>
                </c:pt>
                <c:pt idx="13">
                  <c:v>Karlovarský kraj</c:v>
                </c:pt>
                <c:pt idx="14">
                  <c:v>Moravskoslez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3.598709999999997</c:v>
                </c:pt>
                <c:pt idx="1">
                  <c:v>90.226740000000007</c:v>
                </c:pt>
                <c:pt idx="2">
                  <c:v>90.115989999999996</c:v>
                </c:pt>
                <c:pt idx="3">
                  <c:v>89.969830000000002</c:v>
                </c:pt>
                <c:pt idx="4">
                  <c:v>89.908799999999999</c:v>
                </c:pt>
                <c:pt idx="5">
                  <c:v>89.501689999999996</c:v>
                </c:pt>
                <c:pt idx="6">
                  <c:v>89.193190000000001</c:v>
                </c:pt>
                <c:pt idx="7">
                  <c:v>89.086539999999999</c:v>
                </c:pt>
                <c:pt idx="8">
                  <c:v>88.952569999999994</c:v>
                </c:pt>
                <c:pt idx="9">
                  <c:v>87.914510000000007</c:v>
                </c:pt>
                <c:pt idx="10">
                  <c:v>87.318179999999998</c:v>
                </c:pt>
                <c:pt idx="11">
                  <c:v>84.954599999999999</c:v>
                </c:pt>
                <c:pt idx="12">
                  <c:v>84.898420000000002</c:v>
                </c:pt>
                <c:pt idx="13">
                  <c:v>84.195800000000006</c:v>
                </c:pt>
                <c:pt idx="14">
                  <c:v>84.1838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Královéhradecký kraj</c:v>
                </c:pt>
                <c:pt idx="5">
                  <c:v>Hlavní město Praha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ČR</c:v>
                </c:pt>
                <c:pt idx="9">
                  <c:v>Liberecký kraj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Zlín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8.381460000000004</c:v>
                </c:pt>
                <c:pt idx="1">
                  <c:v>88.145049999999998</c:v>
                </c:pt>
                <c:pt idx="2">
                  <c:v>87.555160000000001</c:v>
                </c:pt>
                <c:pt idx="3">
                  <c:v>87.179490000000001</c:v>
                </c:pt>
                <c:pt idx="4">
                  <c:v>86.220070000000007</c:v>
                </c:pt>
                <c:pt idx="5">
                  <c:v>86.178389999999993</c:v>
                </c:pt>
                <c:pt idx="6">
                  <c:v>84.975880000000004</c:v>
                </c:pt>
                <c:pt idx="7">
                  <c:v>84.509240000000005</c:v>
                </c:pt>
                <c:pt idx="8">
                  <c:v>83.960489999999993</c:v>
                </c:pt>
                <c:pt idx="9">
                  <c:v>83.944950000000006</c:v>
                </c:pt>
                <c:pt idx="10">
                  <c:v>83.004220000000004</c:v>
                </c:pt>
                <c:pt idx="11">
                  <c:v>81.137510000000006</c:v>
                </c:pt>
                <c:pt idx="12">
                  <c:v>78.974720000000005</c:v>
                </c:pt>
                <c:pt idx="13">
                  <c:v>78.958089999999999</c:v>
                </c:pt>
                <c:pt idx="14">
                  <c:v>77.63097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8 Radiologický asistent</c:v>
                </c:pt>
                <c:pt idx="9">
                  <c:v>§ 26 Odborný pracovník v laboratorních metodách a v přípravě léčivých přípravků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35 Řidič vozidla zdravotnické záchranné služby</c:v>
                </c:pt>
                <c:pt idx="13">
                  <c:v>§ 17 Dentální hygienistka</c:v>
                </c:pt>
                <c:pt idx="14">
                  <c:v>§ 22 Psycholog ve zdravotnictví</c:v>
                </c:pt>
                <c:pt idx="15">
                  <c:v>§ 37 Masér ve zdravotnictví, nevidomý a slabozraký masér ve zdravotnictví</c:v>
                </c:pt>
                <c:pt idx="16">
                  <c:v>§ 15 Nutriční terapeut</c:v>
                </c:pt>
                <c:pt idx="17">
                  <c:v>§ 11 Optometrista</c:v>
                </c:pt>
                <c:pt idx="18">
                  <c:v>§ 7 Ergoterapeut</c:v>
                </c:pt>
                <c:pt idx="19">
                  <c:v>§ 10 Zdravotně-sociální pracovník</c:v>
                </c:pt>
                <c:pt idx="20">
                  <c:v>§ 23 Logoped ve zdravotnictví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1a Adiktolog</c:v>
                </c:pt>
                <c:pt idx="25">
                  <c:v>§ 28 Odborný pracovník v ochraně a podpoře veřejného zdraví</c:v>
                </c:pt>
                <c:pt idx="26">
                  <c:v>§ 13 Asistent ochrany a podpory veřejného zdraví</c:v>
                </c:pt>
                <c:pt idx="27">
                  <c:v>§ 25 Radiologický fyzik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41 Autoptický laborant</c:v>
                </c:pt>
                <c:pt idx="34">
                  <c:v>§ 21 Radiologický technik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3770</c:v>
                </c:pt>
                <c:pt idx="1">
                  <c:v>1755</c:v>
                </c:pt>
                <c:pt idx="2">
                  <c:v>1459</c:v>
                </c:pt>
                <c:pt idx="3">
                  <c:v>1265</c:v>
                </c:pt>
                <c:pt idx="4">
                  <c:v>1189</c:v>
                </c:pt>
                <c:pt idx="5">
                  <c:v>859</c:v>
                </c:pt>
                <c:pt idx="6">
                  <c:v>656</c:v>
                </c:pt>
                <c:pt idx="7">
                  <c:v>643</c:v>
                </c:pt>
                <c:pt idx="8">
                  <c:v>510</c:v>
                </c:pt>
                <c:pt idx="9">
                  <c:v>495</c:v>
                </c:pt>
                <c:pt idx="10">
                  <c:v>461</c:v>
                </c:pt>
                <c:pt idx="11">
                  <c:v>363</c:v>
                </c:pt>
                <c:pt idx="12">
                  <c:v>278</c:v>
                </c:pt>
                <c:pt idx="13">
                  <c:v>240</c:v>
                </c:pt>
                <c:pt idx="14">
                  <c:v>236</c:v>
                </c:pt>
                <c:pt idx="15">
                  <c:v>202</c:v>
                </c:pt>
                <c:pt idx="16">
                  <c:v>166</c:v>
                </c:pt>
                <c:pt idx="17">
                  <c:v>149</c:v>
                </c:pt>
                <c:pt idx="18">
                  <c:v>143</c:v>
                </c:pt>
                <c:pt idx="19">
                  <c:v>140</c:v>
                </c:pt>
                <c:pt idx="20">
                  <c:v>131</c:v>
                </c:pt>
                <c:pt idx="21">
                  <c:v>114</c:v>
                </c:pt>
                <c:pt idx="22">
                  <c:v>69</c:v>
                </c:pt>
                <c:pt idx="23">
                  <c:v>48</c:v>
                </c:pt>
                <c:pt idx="24">
                  <c:v>35</c:v>
                </c:pt>
                <c:pt idx="25">
                  <c:v>35</c:v>
                </c:pt>
                <c:pt idx="26">
                  <c:v>24</c:v>
                </c:pt>
                <c:pt idx="27">
                  <c:v>21</c:v>
                </c:pt>
                <c:pt idx="28">
                  <c:v>18</c:v>
                </c:pt>
                <c:pt idx="29">
                  <c:v>14</c:v>
                </c:pt>
                <c:pt idx="30">
                  <c:v>9</c:v>
                </c:pt>
                <c:pt idx="31">
                  <c:v>8</c:v>
                </c:pt>
                <c:pt idx="32">
                  <c:v>8</c:v>
                </c:pt>
                <c:pt idx="33">
                  <c:v>4</c:v>
                </c:pt>
                <c:pt idx="34">
                  <c:v>2</c:v>
                </c:pt>
                <c:pt idx="3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39 Zubní instrumentářka</c:v>
                </c:pt>
                <c:pt idx="7">
                  <c:v>§ 18 Zdravotnický záchranář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22 Psycholog ve zdravotnictví</c:v>
                </c:pt>
                <c:pt idx="13">
                  <c:v>§ 17 Dentální hygienistka</c:v>
                </c:pt>
                <c:pt idx="14">
                  <c:v>§ 35 Řidič vozidla zdravotnické záchranné služby</c:v>
                </c:pt>
                <c:pt idx="15">
                  <c:v>§ 37 Masér ve zdravotnictví, nevidomý a slabozraký masér ve zdravotnictví</c:v>
                </c:pt>
                <c:pt idx="16">
                  <c:v>§ 15 Nutriční terapeut</c:v>
                </c:pt>
                <c:pt idx="17">
                  <c:v>§ 23 Logoped ve zdravotnictví</c:v>
                </c:pt>
                <c:pt idx="18">
                  <c:v>§ 7 Ergoterapeut</c:v>
                </c:pt>
                <c:pt idx="19">
                  <c:v>§ 11 Optometrista</c:v>
                </c:pt>
                <c:pt idx="20">
                  <c:v>§ 10 Zdravotně-sociální pracovník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1a Adiktolog</c:v>
                </c:pt>
                <c:pt idx="25">
                  <c:v>§ 28 Odborný pracovník v ochraně a podpoře veřejného zdraví</c:v>
                </c:pt>
                <c:pt idx="26">
                  <c:v>§ 25 Radiologický fyzik</c:v>
                </c:pt>
                <c:pt idx="27">
                  <c:v>§ 13 Asistent ochrany a podpory veřejného zdraví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2 Nutriční asistent</c:v>
                </c:pt>
                <c:pt idx="32">
                  <c:v>§ 41 Autoptický laborant</c:v>
                </c:pt>
                <c:pt idx="33">
                  <c:v>§ 23a Zrakový terapeut</c:v>
                </c:pt>
                <c:pt idx="34">
                  <c:v>§ 21 Radiologický technik</c:v>
                </c:pt>
                <c:pt idx="35">
                  <c:v>§ 31 Ortoticko-protetický technik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1384</c:v>
                </c:pt>
                <c:pt idx="1">
                  <c:v>825</c:v>
                </c:pt>
                <c:pt idx="2">
                  <c:v>680</c:v>
                </c:pt>
                <c:pt idx="3">
                  <c:v>626</c:v>
                </c:pt>
                <c:pt idx="4">
                  <c:v>525</c:v>
                </c:pt>
                <c:pt idx="5">
                  <c:v>321</c:v>
                </c:pt>
                <c:pt idx="6">
                  <c:v>294</c:v>
                </c:pt>
                <c:pt idx="7">
                  <c:v>278</c:v>
                </c:pt>
                <c:pt idx="8">
                  <c:v>265</c:v>
                </c:pt>
                <c:pt idx="9">
                  <c:v>216</c:v>
                </c:pt>
                <c:pt idx="10">
                  <c:v>200</c:v>
                </c:pt>
                <c:pt idx="11">
                  <c:v>141</c:v>
                </c:pt>
                <c:pt idx="12">
                  <c:v>125</c:v>
                </c:pt>
                <c:pt idx="13">
                  <c:v>111</c:v>
                </c:pt>
                <c:pt idx="14">
                  <c:v>98</c:v>
                </c:pt>
                <c:pt idx="15">
                  <c:v>88</c:v>
                </c:pt>
                <c:pt idx="16">
                  <c:v>84</c:v>
                </c:pt>
                <c:pt idx="17">
                  <c:v>77</c:v>
                </c:pt>
                <c:pt idx="18">
                  <c:v>70</c:v>
                </c:pt>
                <c:pt idx="19">
                  <c:v>66</c:v>
                </c:pt>
                <c:pt idx="20">
                  <c:v>60</c:v>
                </c:pt>
                <c:pt idx="21">
                  <c:v>49</c:v>
                </c:pt>
                <c:pt idx="22">
                  <c:v>34</c:v>
                </c:pt>
                <c:pt idx="23">
                  <c:v>24</c:v>
                </c:pt>
                <c:pt idx="24">
                  <c:v>18</c:v>
                </c:pt>
                <c:pt idx="25">
                  <c:v>16</c:v>
                </c:pt>
                <c:pt idx="26">
                  <c:v>15</c:v>
                </c:pt>
                <c:pt idx="27">
                  <c:v>12</c:v>
                </c:pt>
                <c:pt idx="28">
                  <c:v>6</c:v>
                </c:pt>
                <c:pt idx="29">
                  <c:v>6</c:v>
                </c:pt>
                <c:pt idx="30">
                  <c:v>5</c:v>
                </c:pt>
                <c:pt idx="31">
                  <c:v>3</c:v>
                </c:pt>
                <c:pt idx="32">
                  <c:v>3</c:v>
                </c:pt>
                <c:pt idx="33">
                  <c:v>2</c:v>
                </c:pt>
                <c:pt idx="34">
                  <c:v>1</c:v>
                </c:pt>
                <c:pt idx="3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29</c:f>
              <c:strCache>
                <c:ptCount val="28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26 Odborný pracovník v laboratorních metodách a v přípravě léčivých přípravků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36 Ošetřovatel</c:v>
                </c:pt>
                <c:pt idx="9">
                  <c:v>§ 22 Psycholog ve zdravotnictví</c:v>
                </c:pt>
                <c:pt idx="10">
                  <c:v>§ 8 Radiologický asistent</c:v>
                </c:pt>
                <c:pt idx="11">
                  <c:v>§ 16 Zubní technik</c:v>
                </c:pt>
                <c:pt idx="12">
                  <c:v>§ 17 Dentální hygienistka</c:v>
                </c:pt>
                <c:pt idx="13">
                  <c:v>§ 40 Řidič zdravotnické dopravní služby</c:v>
                </c:pt>
                <c:pt idx="14">
                  <c:v>§ 15 Nutriční terapeut</c:v>
                </c:pt>
                <c:pt idx="15">
                  <c:v>§ 7 Ergoterapeut</c:v>
                </c:pt>
                <c:pt idx="16">
                  <c:v>§ 23 Logoped ve zdravotnictví</c:v>
                </c:pt>
                <c:pt idx="17">
                  <c:v>§ 10 Zdravotně-sociální pracovník</c:v>
                </c:pt>
                <c:pt idx="18">
                  <c:v>§ 35 Řidič vozidla zdravotnické záchranné služby</c:v>
                </c:pt>
                <c:pt idx="19">
                  <c:v>§ 37 Masér ve zdravotnictví, nevidomý a slabozraký masér ve zdravotnictví</c:v>
                </c:pt>
                <c:pt idx="20">
                  <c:v>§ 30 Laboratorní asistent</c:v>
                </c:pt>
                <c:pt idx="21">
                  <c:v>§ 11 Optometrista</c:v>
                </c:pt>
                <c:pt idx="22">
                  <c:v>§ 33 Asistent zubního technika</c:v>
                </c:pt>
                <c:pt idx="23">
                  <c:v>§ 13 Asistent ochrany a podpory veřejného zdraví</c:v>
                </c:pt>
                <c:pt idx="24">
                  <c:v>§ 25 Radiologický fyzik</c:v>
                </c:pt>
                <c:pt idx="25">
                  <c:v>§ 27 Biomedicínský inženýr</c:v>
                </c:pt>
                <c:pt idx="26">
                  <c:v>§ 28 Odborný pracovník v ochraně a podpoře veřejného zdraví</c:v>
                </c:pt>
                <c:pt idx="27">
                  <c:v>§ 21a Adiktolog</c:v>
                </c:pt>
              </c:strCache>
            </c:strRef>
          </c:cat>
          <c:val>
            <c:numRef>
              <c:f>List1!$B$2:$B$29</c:f>
              <c:numCache>
                <c:formatCode>General</c:formatCode>
                <c:ptCount val="28"/>
                <c:pt idx="0">
                  <c:v>112</c:v>
                </c:pt>
                <c:pt idx="1">
                  <c:v>90</c:v>
                </c:pt>
                <c:pt idx="2">
                  <c:v>62</c:v>
                </c:pt>
                <c:pt idx="3">
                  <c:v>60</c:v>
                </c:pt>
                <c:pt idx="4">
                  <c:v>40</c:v>
                </c:pt>
                <c:pt idx="5">
                  <c:v>29</c:v>
                </c:pt>
                <c:pt idx="6">
                  <c:v>28</c:v>
                </c:pt>
                <c:pt idx="7">
                  <c:v>27</c:v>
                </c:pt>
                <c:pt idx="8">
                  <c:v>26</c:v>
                </c:pt>
                <c:pt idx="9">
                  <c:v>23</c:v>
                </c:pt>
                <c:pt idx="10">
                  <c:v>22</c:v>
                </c:pt>
                <c:pt idx="11">
                  <c:v>18</c:v>
                </c:pt>
                <c:pt idx="12">
                  <c:v>14</c:v>
                </c:pt>
                <c:pt idx="13">
                  <c:v>13</c:v>
                </c:pt>
                <c:pt idx="14">
                  <c:v>12</c:v>
                </c:pt>
                <c:pt idx="15">
                  <c:v>8</c:v>
                </c:pt>
                <c:pt idx="16">
                  <c:v>8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5</c:v>
                </c:pt>
                <c:pt idx="21">
                  <c:v>4</c:v>
                </c:pt>
                <c:pt idx="22">
                  <c:v>4</c:v>
                </c:pt>
                <c:pt idx="23">
                  <c:v>3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9.325113282687688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16.07.21</c:v>
                </c:pt>
                <c:pt idx="1">
                  <c:v>17.07.21</c:v>
                </c:pt>
                <c:pt idx="2">
                  <c:v>18.07.21</c:v>
                </c:pt>
                <c:pt idx="3">
                  <c:v>19.07.21</c:v>
                </c:pt>
                <c:pt idx="4">
                  <c:v>20.07.21</c:v>
                </c:pt>
                <c:pt idx="5">
                  <c:v>21.07.21</c:v>
                </c:pt>
                <c:pt idx="6">
                  <c:v>22.07.21</c:v>
                </c:pt>
                <c:pt idx="7">
                  <c:v>23.07.21</c:v>
                </c:pt>
                <c:pt idx="8">
                  <c:v>24.07.21</c:v>
                </c:pt>
                <c:pt idx="9">
                  <c:v>25.07.21</c:v>
                </c:pt>
                <c:pt idx="10">
                  <c:v>26.07.21</c:v>
                </c:pt>
                <c:pt idx="11">
                  <c:v>27.07.21</c:v>
                </c:pt>
                <c:pt idx="12">
                  <c:v>28.07.21</c:v>
                </c:pt>
                <c:pt idx="13">
                  <c:v>29.07.21</c:v>
                </c:pt>
                <c:pt idx="14">
                  <c:v>30.07.21</c:v>
                </c:pt>
                <c:pt idx="15">
                  <c:v>31.07.21</c:v>
                </c:pt>
                <c:pt idx="16">
                  <c:v>01.08.21</c:v>
                </c:pt>
                <c:pt idx="17">
                  <c:v>02.08.21</c:v>
                </c:pt>
                <c:pt idx="18">
                  <c:v>03.08.21</c:v>
                </c:pt>
                <c:pt idx="19">
                  <c:v>04.08.21</c:v>
                </c:pt>
                <c:pt idx="20">
                  <c:v>05.08.21</c:v>
                </c:pt>
                <c:pt idx="21">
                  <c:v>06.08.21</c:v>
                </c:pt>
                <c:pt idx="22">
                  <c:v>07.08.21</c:v>
                </c:pt>
                <c:pt idx="23">
                  <c:v>08.08.21</c:v>
                </c:pt>
                <c:pt idx="24">
                  <c:v>09.08.21</c:v>
                </c:pt>
                <c:pt idx="25">
                  <c:v>10.08.21</c:v>
                </c:pt>
                <c:pt idx="26">
                  <c:v>11.08.21</c:v>
                </c:pt>
                <c:pt idx="27">
                  <c:v>12.08.21</c:v>
                </c:pt>
                <c:pt idx="28">
                  <c:v>13.08.21</c:v>
                </c:pt>
                <c:pt idx="29">
                  <c:v>14.08.21</c:v>
                </c:pt>
                <c:pt idx="30">
                  <c:v>15.08.21</c:v>
                </c:pt>
                <c:pt idx="31">
                  <c:v>16.08.21</c:v>
                </c:pt>
                <c:pt idx="32">
                  <c:v>17.08.21</c:v>
                </c:pt>
                <c:pt idx="33">
                  <c:v>18.08.21</c:v>
                </c:pt>
                <c:pt idx="34">
                  <c:v>19.08.21</c:v>
                </c:pt>
                <c:pt idx="35">
                  <c:v>20.08.21</c:v>
                </c:pt>
                <c:pt idx="36">
                  <c:v>21.08.21</c:v>
                </c:pt>
                <c:pt idx="37">
                  <c:v>22.08.21</c:v>
                </c:pt>
                <c:pt idx="38">
                  <c:v>23.08.21</c:v>
                </c:pt>
                <c:pt idx="39">
                  <c:v>24.08.21</c:v>
                </c:pt>
                <c:pt idx="40">
                  <c:v>25.08.21</c:v>
                </c:pt>
                <c:pt idx="41">
                  <c:v>26.08.21</c:v>
                </c:pt>
                <c:pt idx="42">
                  <c:v>27.08.21</c:v>
                </c:pt>
                <c:pt idx="43">
                  <c:v>28.08.21</c:v>
                </c:pt>
                <c:pt idx="44">
                  <c:v>29.08.21</c:v>
                </c:pt>
                <c:pt idx="45">
                  <c:v>30.08.21</c:v>
                </c:pt>
                <c:pt idx="46">
                  <c:v>31.08.21</c:v>
                </c:pt>
                <c:pt idx="47">
                  <c:v>01.09.21</c:v>
                </c:pt>
                <c:pt idx="48">
                  <c:v>02.09.21</c:v>
                </c:pt>
                <c:pt idx="49">
                  <c:v>03.09.21</c:v>
                </c:pt>
                <c:pt idx="50">
                  <c:v>04.09.21</c:v>
                </c:pt>
                <c:pt idx="51">
                  <c:v>05.09.21</c:v>
                </c:pt>
                <c:pt idx="52">
                  <c:v>06.09.21</c:v>
                </c:pt>
                <c:pt idx="53">
                  <c:v>07.09.21</c:v>
                </c:pt>
                <c:pt idx="54">
                  <c:v>08.09.21</c:v>
                </c:pt>
                <c:pt idx="55">
                  <c:v>09.09.21</c:v>
                </c:pt>
                <c:pt idx="56">
                  <c:v>10.09.21</c:v>
                </c:pt>
                <c:pt idx="57">
                  <c:v>11.09.21</c:v>
                </c:pt>
                <c:pt idx="58">
                  <c:v>12.09.21</c:v>
                </c:pt>
                <c:pt idx="59">
                  <c:v>13.09.21</c:v>
                </c:pt>
                <c:pt idx="60">
                  <c:v>14.09.21</c:v>
                </c:pt>
                <c:pt idx="61">
                  <c:v>15.09.21</c:v>
                </c:pt>
                <c:pt idx="62">
                  <c:v>16.09.21</c:v>
                </c:pt>
                <c:pt idx="63">
                  <c:v>17.09.21</c:v>
                </c:pt>
                <c:pt idx="64">
                  <c:v>18.09.21</c:v>
                </c:pt>
                <c:pt idx="65">
                  <c:v>19.09.21</c:v>
                </c:pt>
                <c:pt idx="66">
                  <c:v>20.09.21</c:v>
                </c:pt>
                <c:pt idx="67">
                  <c:v>21.09.21</c:v>
                </c:pt>
                <c:pt idx="68">
                  <c:v>22.09.21</c:v>
                </c:pt>
                <c:pt idx="69">
                  <c:v>23.09.21</c:v>
                </c:pt>
                <c:pt idx="70">
                  <c:v>24.09.21</c:v>
                </c:pt>
                <c:pt idx="71">
                  <c:v>25.09.21</c:v>
                </c:pt>
                <c:pt idx="72">
                  <c:v>26.09.21</c:v>
                </c:pt>
                <c:pt idx="73">
                  <c:v>27.09.21</c:v>
                </c:pt>
                <c:pt idx="74">
                  <c:v>28.09.21</c:v>
                </c:pt>
                <c:pt idx="75">
                  <c:v>29.09.21</c:v>
                </c:pt>
                <c:pt idx="76">
                  <c:v>30.09.21</c:v>
                </c:pt>
                <c:pt idx="77">
                  <c:v>01.10.21</c:v>
                </c:pt>
                <c:pt idx="78">
                  <c:v>02.10.21</c:v>
                </c:pt>
                <c:pt idx="79">
                  <c:v>03.10.21</c:v>
                </c:pt>
                <c:pt idx="80">
                  <c:v>04.10.21</c:v>
                </c:pt>
                <c:pt idx="81">
                  <c:v>05.10.21</c:v>
                </c:pt>
                <c:pt idx="82">
                  <c:v>06.10.21</c:v>
                </c:pt>
                <c:pt idx="83">
                  <c:v>07.10.21</c:v>
                </c:pt>
                <c:pt idx="84">
                  <c:v>08.10.21</c:v>
                </c:pt>
                <c:pt idx="85">
                  <c:v>09.10.21</c:v>
                </c:pt>
                <c:pt idx="86">
                  <c:v>10.10.21</c:v>
                </c:pt>
                <c:pt idx="87">
                  <c:v>11.10.21</c:v>
                </c:pt>
                <c:pt idx="88">
                  <c:v>12.10.21</c:v>
                </c:pt>
                <c:pt idx="89">
                  <c:v>13.10.21</c:v>
                </c:pt>
                <c:pt idx="90">
                  <c:v>14.10.21</c:v>
                </c:pt>
                <c:pt idx="91">
                  <c:v>15.10.21</c:v>
                </c:pt>
                <c:pt idx="92">
                  <c:v>16.10.21</c:v>
                </c:pt>
                <c:pt idx="93">
                  <c:v>17.10.21</c:v>
                </c:pt>
                <c:pt idx="94">
                  <c:v>18.10.21</c:v>
                </c:pt>
                <c:pt idx="95">
                  <c:v>19.10.21</c:v>
                </c:pt>
                <c:pt idx="96">
                  <c:v>20.10.21</c:v>
                </c:pt>
                <c:pt idx="97">
                  <c:v>21.10.21</c:v>
                </c:pt>
                <c:pt idx="98">
                  <c:v>22.10.21</c:v>
                </c:pt>
                <c:pt idx="99">
                  <c:v>23.10.21</c:v>
                </c:pt>
                <c:pt idx="100">
                  <c:v>24.10.21</c:v>
                </c:pt>
                <c:pt idx="101">
                  <c:v>25.10.21</c:v>
                </c:pt>
                <c:pt idx="102">
                  <c:v>26.10.21</c:v>
                </c:pt>
                <c:pt idx="103">
                  <c:v>27.10.21</c:v>
                </c:pt>
                <c:pt idx="104">
                  <c:v>28.10.21</c:v>
                </c:pt>
                <c:pt idx="105">
                  <c:v>29.10.21</c:v>
                </c:pt>
                <c:pt idx="106">
                  <c:v>30.10.21</c:v>
                </c:pt>
                <c:pt idx="107">
                  <c:v>31.10.21</c:v>
                </c:pt>
                <c:pt idx="108">
                  <c:v>01.11.21</c:v>
                </c:pt>
                <c:pt idx="109">
                  <c:v>02.11.21</c:v>
                </c:pt>
                <c:pt idx="110">
                  <c:v>03.11.21</c:v>
                </c:pt>
                <c:pt idx="111">
                  <c:v>04.11.21</c:v>
                </c:pt>
                <c:pt idx="112">
                  <c:v>05.11.21</c:v>
                </c:pt>
                <c:pt idx="113">
                  <c:v>06.11.21</c:v>
                </c:pt>
                <c:pt idx="114">
                  <c:v>07.11.21</c:v>
                </c:pt>
                <c:pt idx="115">
                  <c:v>08.11.21</c:v>
                </c:pt>
                <c:pt idx="116">
                  <c:v>09.11.21</c:v>
                </c:pt>
                <c:pt idx="117">
                  <c:v>10.11.21</c:v>
                </c:pt>
                <c:pt idx="118">
                  <c:v>11.11.21</c:v>
                </c:pt>
                <c:pt idx="119">
                  <c:v>12.11.21</c:v>
                </c:pt>
                <c:pt idx="120">
                  <c:v>13.11.21</c:v>
                </c:pt>
                <c:pt idx="121">
                  <c:v>14.11.21</c:v>
                </c:pt>
                <c:pt idx="122">
                  <c:v>15.11.21</c:v>
                </c:pt>
                <c:pt idx="123">
                  <c:v>16.11.21</c:v>
                </c:pt>
                <c:pt idx="124">
                  <c:v>17.11.21</c:v>
                </c:pt>
                <c:pt idx="125">
                  <c:v>18.11.21</c:v>
                </c:pt>
                <c:pt idx="126">
                  <c:v>19.11.21</c:v>
                </c:pt>
                <c:pt idx="127">
                  <c:v>20.11.21</c:v>
                </c:pt>
                <c:pt idx="128">
                  <c:v>21.11.21</c:v>
                </c:pt>
                <c:pt idx="129">
                  <c:v>22.11.21</c:v>
                </c:pt>
                <c:pt idx="130">
                  <c:v>23.11.21</c:v>
                </c:pt>
                <c:pt idx="131">
                  <c:v>24.11.21</c:v>
                </c:pt>
                <c:pt idx="132">
                  <c:v>25.11.21</c:v>
                </c:pt>
                <c:pt idx="133">
                  <c:v>26.11.21</c:v>
                </c:pt>
                <c:pt idx="134">
                  <c:v>27.11.21</c:v>
                </c:pt>
                <c:pt idx="135">
                  <c:v>28.11.21</c:v>
                </c:pt>
                <c:pt idx="136">
                  <c:v>29.11.21</c:v>
                </c:pt>
                <c:pt idx="137">
                  <c:v>30.11.21</c:v>
                </c:pt>
                <c:pt idx="138">
                  <c:v>01.12.21</c:v>
                </c:pt>
                <c:pt idx="139">
                  <c:v>02.12.21</c:v>
                </c:pt>
                <c:pt idx="140">
                  <c:v>03.12.21</c:v>
                </c:pt>
                <c:pt idx="141">
                  <c:v>04.12.21</c:v>
                </c:pt>
                <c:pt idx="142">
                  <c:v>05.12.21</c:v>
                </c:pt>
                <c:pt idx="143">
                  <c:v>06.12.21</c:v>
                </c:pt>
                <c:pt idx="144">
                  <c:v>07.12.21</c:v>
                </c:pt>
                <c:pt idx="145">
                  <c:v>08.12.21</c:v>
                </c:pt>
                <c:pt idx="146">
                  <c:v>09.12.21</c:v>
                </c:pt>
                <c:pt idx="147">
                  <c:v>10.12.21</c:v>
                </c:pt>
                <c:pt idx="148">
                  <c:v>11.12.21</c:v>
                </c:pt>
                <c:pt idx="149">
                  <c:v>12.12.21</c:v>
                </c:pt>
                <c:pt idx="150">
                  <c:v>13.12.21</c:v>
                </c:pt>
                <c:pt idx="151">
                  <c:v>14.12.21</c:v>
                </c:pt>
                <c:pt idx="152">
                  <c:v>15.12.21</c:v>
                </c:pt>
                <c:pt idx="153">
                  <c:v>16.12.21</c:v>
                </c:pt>
                <c:pt idx="154">
                  <c:v>17.12.21</c:v>
                </c:pt>
                <c:pt idx="155">
                  <c:v>18.12.21</c:v>
                </c:pt>
                <c:pt idx="156">
                  <c:v>19.12.21</c:v>
                </c:pt>
                <c:pt idx="157">
                  <c:v>20.12.21</c:v>
                </c:pt>
                <c:pt idx="158">
                  <c:v>21.12.21</c:v>
                </c:pt>
                <c:pt idx="159">
                  <c:v>22.12.21</c:v>
                </c:pt>
                <c:pt idx="160">
                  <c:v>23.12.21</c:v>
                </c:pt>
                <c:pt idx="161">
                  <c:v>24.12.21</c:v>
                </c:pt>
                <c:pt idx="162">
                  <c:v>25.12.21</c:v>
                </c:pt>
                <c:pt idx="163">
                  <c:v>26.12.21</c:v>
                </c:pt>
                <c:pt idx="164">
                  <c:v>27.12.21</c:v>
                </c:pt>
                <c:pt idx="165">
                  <c:v>28.12.21</c:v>
                </c:pt>
                <c:pt idx="166">
                  <c:v>29.12.21</c:v>
                </c:pt>
                <c:pt idx="167">
                  <c:v>30.12.21</c:v>
                </c:pt>
                <c:pt idx="168">
                  <c:v>31.12.21</c:v>
                </c:pt>
                <c:pt idx="169">
                  <c:v>01.01.22</c:v>
                </c:pt>
                <c:pt idx="170">
                  <c:v>02.01.22</c:v>
                </c:pt>
                <c:pt idx="171">
                  <c:v>03.01.22</c:v>
                </c:pt>
                <c:pt idx="172">
                  <c:v>04.01.22</c:v>
                </c:pt>
                <c:pt idx="173">
                  <c:v>05.01.22</c:v>
                </c:pt>
                <c:pt idx="174">
                  <c:v>06.01.22</c:v>
                </c:pt>
                <c:pt idx="175">
                  <c:v>07.01.22</c:v>
                </c:pt>
                <c:pt idx="176">
                  <c:v>08.01.22</c:v>
                </c:pt>
                <c:pt idx="177">
                  <c:v>09.01.22</c:v>
                </c:pt>
                <c:pt idx="178">
                  <c:v>10.01.22</c:v>
                </c:pt>
                <c:pt idx="179">
                  <c:v>11.01.22</c:v>
                </c:pt>
                <c:pt idx="180">
                  <c:v>12.01.22</c:v>
                </c:pt>
                <c:pt idx="181">
                  <c:v>13.01.22</c:v>
                </c:pt>
                <c:pt idx="182">
                  <c:v>14.01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4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3</c:v>
                </c:pt>
                <c:pt idx="11">
                  <c:v>1</c:v>
                </c:pt>
                <c:pt idx="12">
                  <c:v>1</c:v>
                </c:pt>
                <c:pt idx="13">
                  <c:v>2</c:v>
                </c:pt>
                <c:pt idx="14">
                  <c:v>2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6</c:v>
                </c:pt>
                <c:pt idx="20">
                  <c:v>1</c:v>
                </c:pt>
                <c:pt idx="21">
                  <c:v>2</c:v>
                </c:pt>
                <c:pt idx="22">
                  <c:v>0</c:v>
                </c:pt>
                <c:pt idx="23">
                  <c:v>2</c:v>
                </c:pt>
                <c:pt idx="24">
                  <c:v>2</c:v>
                </c:pt>
                <c:pt idx="25">
                  <c:v>0</c:v>
                </c:pt>
                <c:pt idx="26">
                  <c:v>3</c:v>
                </c:pt>
                <c:pt idx="27">
                  <c:v>1</c:v>
                </c:pt>
                <c:pt idx="28">
                  <c:v>1</c:v>
                </c:pt>
                <c:pt idx="29">
                  <c:v>0</c:v>
                </c:pt>
                <c:pt idx="30">
                  <c:v>0</c:v>
                </c:pt>
                <c:pt idx="31">
                  <c:v>3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2</c:v>
                </c:pt>
                <c:pt idx="39">
                  <c:v>0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0</c:v>
                </c:pt>
                <c:pt idx="45">
                  <c:v>0</c:v>
                </c:pt>
                <c:pt idx="46">
                  <c:v>4</c:v>
                </c:pt>
                <c:pt idx="47">
                  <c:v>4</c:v>
                </c:pt>
                <c:pt idx="48">
                  <c:v>1</c:v>
                </c:pt>
                <c:pt idx="49">
                  <c:v>1</c:v>
                </c:pt>
                <c:pt idx="50">
                  <c:v>3</c:v>
                </c:pt>
                <c:pt idx="51">
                  <c:v>1</c:v>
                </c:pt>
                <c:pt idx="52">
                  <c:v>0</c:v>
                </c:pt>
                <c:pt idx="53">
                  <c:v>2</c:v>
                </c:pt>
                <c:pt idx="54">
                  <c:v>0</c:v>
                </c:pt>
                <c:pt idx="55">
                  <c:v>0</c:v>
                </c:pt>
                <c:pt idx="56">
                  <c:v>3</c:v>
                </c:pt>
                <c:pt idx="57">
                  <c:v>3</c:v>
                </c:pt>
                <c:pt idx="58">
                  <c:v>0</c:v>
                </c:pt>
                <c:pt idx="59">
                  <c:v>4</c:v>
                </c:pt>
                <c:pt idx="60">
                  <c:v>2</c:v>
                </c:pt>
                <c:pt idx="61">
                  <c:v>0</c:v>
                </c:pt>
                <c:pt idx="62">
                  <c:v>1</c:v>
                </c:pt>
                <c:pt idx="63">
                  <c:v>2</c:v>
                </c:pt>
                <c:pt idx="64">
                  <c:v>1</c:v>
                </c:pt>
                <c:pt idx="65">
                  <c:v>1</c:v>
                </c:pt>
                <c:pt idx="66">
                  <c:v>0</c:v>
                </c:pt>
                <c:pt idx="67">
                  <c:v>3</c:v>
                </c:pt>
                <c:pt idx="68">
                  <c:v>3</c:v>
                </c:pt>
                <c:pt idx="69">
                  <c:v>2</c:v>
                </c:pt>
                <c:pt idx="70">
                  <c:v>3</c:v>
                </c:pt>
                <c:pt idx="71">
                  <c:v>0</c:v>
                </c:pt>
                <c:pt idx="72">
                  <c:v>2</c:v>
                </c:pt>
                <c:pt idx="73">
                  <c:v>6</c:v>
                </c:pt>
                <c:pt idx="74">
                  <c:v>4</c:v>
                </c:pt>
                <c:pt idx="75">
                  <c:v>3</c:v>
                </c:pt>
                <c:pt idx="76">
                  <c:v>9</c:v>
                </c:pt>
                <c:pt idx="77">
                  <c:v>2</c:v>
                </c:pt>
                <c:pt idx="78">
                  <c:v>5</c:v>
                </c:pt>
                <c:pt idx="79">
                  <c:v>1</c:v>
                </c:pt>
                <c:pt idx="80">
                  <c:v>0</c:v>
                </c:pt>
                <c:pt idx="81">
                  <c:v>2</c:v>
                </c:pt>
                <c:pt idx="82">
                  <c:v>5</c:v>
                </c:pt>
                <c:pt idx="83">
                  <c:v>6</c:v>
                </c:pt>
                <c:pt idx="84">
                  <c:v>6</c:v>
                </c:pt>
                <c:pt idx="85">
                  <c:v>1</c:v>
                </c:pt>
                <c:pt idx="86">
                  <c:v>1</c:v>
                </c:pt>
                <c:pt idx="87">
                  <c:v>3</c:v>
                </c:pt>
                <c:pt idx="88">
                  <c:v>10</c:v>
                </c:pt>
                <c:pt idx="89">
                  <c:v>7</c:v>
                </c:pt>
                <c:pt idx="90">
                  <c:v>7</c:v>
                </c:pt>
                <c:pt idx="91">
                  <c:v>6</c:v>
                </c:pt>
                <c:pt idx="92">
                  <c:v>5</c:v>
                </c:pt>
                <c:pt idx="93">
                  <c:v>8</c:v>
                </c:pt>
                <c:pt idx="94">
                  <c:v>17</c:v>
                </c:pt>
                <c:pt idx="95">
                  <c:v>16</c:v>
                </c:pt>
                <c:pt idx="96">
                  <c:v>13</c:v>
                </c:pt>
                <c:pt idx="97">
                  <c:v>13</c:v>
                </c:pt>
                <c:pt idx="98">
                  <c:v>16</c:v>
                </c:pt>
                <c:pt idx="99">
                  <c:v>13</c:v>
                </c:pt>
                <c:pt idx="100">
                  <c:v>12</c:v>
                </c:pt>
                <c:pt idx="101">
                  <c:v>28</c:v>
                </c:pt>
                <c:pt idx="102">
                  <c:v>20</c:v>
                </c:pt>
                <c:pt idx="103">
                  <c:v>23</c:v>
                </c:pt>
                <c:pt idx="104">
                  <c:v>22</c:v>
                </c:pt>
                <c:pt idx="105">
                  <c:v>36</c:v>
                </c:pt>
                <c:pt idx="106">
                  <c:v>21</c:v>
                </c:pt>
                <c:pt idx="107">
                  <c:v>18</c:v>
                </c:pt>
                <c:pt idx="108">
                  <c:v>55</c:v>
                </c:pt>
                <c:pt idx="109">
                  <c:v>38</c:v>
                </c:pt>
                <c:pt idx="110">
                  <c:v>38</c:v>
                </c:pt>
                <c:pt idx="111">
                  <c:v>27</c:v>
                </c:pt>
                <c:pt idx="112">
                  <c:v>40</c:v>
                </c:pt>
                <c:pt idx="113">
                  <c:v>20</c:v>
                </c:pt>
                <c:pt idx="114">
                  <c:v>18</c:v>
                </c:pt>
                <c:pt idx="115">
                  <c:v>52</c:v>
                </c:pt>
                <c:pt idx="116">
                  <c:v>46</c:v>
                </c:pt>
                <c:pt idx="117">
                  <c:v>48</c:v>
                </c:pt>
                <c:pt idx="118">
                  <c:v>50</c:v>
                </c:pt>
                <c:pt idx="119">
                  <c:v>42</c:v>
                </c:pt>
                <c:pt idx="120">
                  <c:v>49</c:v>
                </c:pt>
                <c:pt idx="121">
                  <c:v>22</c:v>
                </c:pt>
                <c:pt idx="122">
                  <c:v>63</c:v>
                </c:pt>
                <c:pt idx="123">
                  <c:v>57</c:v>
                </c:pt>
                <c:pt idx="124">
                  <c:v>44</c:v>
                </c:pt>
                <c:pt idx="125">
                  <c:v>54</c:v>
                </c:pt>
                <c:pt idx="126">
                  <c:v>78</c:v>
                </c:pt>
                <c:pt idx="127">
                  <c:v>45</c:v>
                </c:pt>
                <c:pt idx="128">
                  <c:v>31</c:v>
                </c:pt>
                <c:pt idx="129">
                  <c:v>60</c:v>
                </c:pt>
                <c:pt idx="130">
                  <c:v>71</c:v>
                </c:pt>
                <c:pt idx="131">
                  <c:v>41</c:v>
                </c:pt>
                <c:pt idx="132">
                  <c:v>66</c:v>
                </c:pt>
                <c:pt idx="133">
                  <c:v>54</c:v>
                </c:pt>
                <c:pt idx="134">
                  <c:v>34</c:v>
                </c:pt>
                <c:pt idx="135">
                  <c:v>40</c:v>
                </c:pt>
                <c:pt idx="136">
                  <c:v>57</c:v>
                </c:pt>
                <c:pt idx="137">
                  <c:v>46</c:v>
                </c:pt>
                <c:pt idx="138">
                  <c:v>55</c:v>
                </c:pt>
                <c:pt idx="139">
                  <c:v>39</c:v>
                </c:pt>
                <c:pt idx="140">
                  <c:v>50</c:v>
                </c:pt>
                <c:pt idx="141">
                  <c:v>24</c:v>
                </c:pt>
                <c:pt idx="142">
                  <c:v>15</c:v>
                </c:pt>
                <c:pt idx="143">
                  <c:v>45</c:v>
                </c:pt>
                <c:pt idx="144">
                  <c:v>40</c:v>
                </c:pt>
                <c:pt idx="145">
                  <c:v>30</c:v>
                </c:pt>
                <c:pt idx="146">
                  <c:v>30</c:v>
                </c:pt>
                <c:pt idx="147">
                  <c:v>33</c:v>
                </c:pt>
                <c:pt idx="148">
                  <c:v>19</c:v>
                </c:pt>
                <c:pt idx="149">
                  <c:v>11</c:v>
                </c:pt>
                <c:pt idx="150">
                  <c:v>29</c:v>
                </c:pt>
                <c:pt idx="151">
                  <c:v>25</c:v>
                </c:pt>
                <c:pt idx="152">
                  <c:v>23</c:v>
                </c:pt>
                <c:pt idx="153">
                  <c:v>16</c:v>
                </c:pt>
                <c:pt idx="154">
                  <c:v>22</c:v>
                </c:pt>
                <c:pt idx="155">
                  <c:v>20</c:v>
                </c:pt>
                <c:pt idx="156">
                  <c:v>15</c:v>
                </c:pt>
                <c:pt idx="157">
                  <c:v>27</c:v>
                </c:pt>
                <c:pt idx="158">
                  <c:v>27</c:v>
                </c:pt>
                <c:pt idx="159">
                  <c:v>21</c:v>
                </c:pt>
                <c:pt idx="160">
                  <c:v>22</c:v>
                </c:pt>
                <c:pt idx="161">
                  <c:v>4</c:v>
                </c:pt>
                <c:pt idx="162">
                  <c:v>11</c:v>
                </c:pt>
                <c:pt idx="163">
                  <c:v>8</c:v>
                </c:pt>
                <c:pt idx="164">
                  <c:v>24</c:v>
                </c:pt>
                <c:pt idx="165">
                  <c:v>32</c:v>
                </c:pt>
                <c:pt idx="166">
                  <c:v>23</c:v>
                </c:pt>
                <c:pt idx="167">
                  <c:v>20</c:v>
                </c:pt>
                <c:pt idx="168">
                  <c:v>18</c:v>
                </c:pt>
                <c:pt idx="169">
                  <c:v>7</c:v>
                </c:pt>
                <c:pt idx="170">
                  <c:v>24</c:v>
                </c:pt>
                <c:pt idx="171">
                  <c:v>33</c:v>
                </c:pt>
                <c:pt idx="172">
                  <c:v>26</c:v>
                </c:pt>
                <c:pt idx="173">
                  <c:v>20</c:v>
                </c:pt>
                <c:pt idx="174">
                  <c:v>25</c:v>
                </c:pt>
                <c:pt idx="175">
                  <c:v>18</c:v>
                </c:pt>
                <c:pt idx="176">
                  <c:v>17</c:v>
                </c:pt>
                <c:pt idx="177">
                  <c:v>13</c:v>
                </c:pt>
                <c:pt idx="178">
                  <c:v>32</c:v>
                </c:pt>
                <c:pt idx="179">
                  <c:v>46</c:v>
                </c:pt>
                <c:pt idx="180">
                  <c:v>67</c:v>
                </c:pt>
                <c:pt idx="181">
                  <c:v>38</c:v>
                </c:pt>
                <c:pt idx="182">
                  <c:v>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6.9898053688695042E-8"/>
                  <c:y val="-2.331186538060957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244118952507763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16.07.21</c:v>
                </c:pt>
                <c:pt idx="1">
                  <c:v>17.07.21</c:v>
                </c:pt>
                <c:pt idx="2">
                  <c:v>18.07.21</c:v>
                </c:pt>
                <c:pt idx="3">
                  <c:v>19.07.21</c:v>
                </c:pt>
                <c:pt idx="4">
                  <c:v>20.07.21</c:v>
                </c:pt>
                <c:pt idx="5">
                  <c:v>21.07.21</c:v>
                </c:pt>
                <c:pt idx="6">
                  <c:v>22.07.21</c:v>
                </c:pt>
                <c:pt idx="7">
                  <c:v>23.07.21</c:v>
                </c:pt>
                <c:pt idx="8">
                  <c:v>24.07.21</c:v>
                </c:pt>
                <c:pt idx="9">
                  <c:v>25.07.21</c:v>
                </c:pt>
                <c:pt idx="10">
                  <c:v>26.07.21</c:v>
                </c:pt>
                <c:pt idx="11">
                  <c:v>27.07.21</c:v>
                </c:pt>
                <c:pt idx="12">
                  <c:v>28.07.21</c:v>
                </c:pt>
                <c:pt idx="13">
                  <c:v>29.07.21</c:v>
                </c:pt>
                <c:pt idx="14">
                  <c:v>30.07.21</c:v>
                </c:pt>
                <c:pt idx="15">
                  <c:v>31.07.21</c:v>
                </c:pt>
                <c:pt idx="16">
                  <c:v>01.08.21</c:v>
                </c:pt>
                <c:pt idx="17">
                  <c:v>02.08.21</c:v>
                </c:pt>
                <c:pt idx="18">
                  <c:v>03.08.21</c:v>
                </c:pt>
                <c:pt idx="19">
                  <c:v>04.08.21</c:v>
                </c:pt>
                <c:pt idx="20">
                  <c:v>05.08.21</c:v>
                </c:pt>
                <c:pt idx="21">
                  <c:v>06.08.21</c:v>
                </c:pt>
                <c:pt idx="22">
                  <c:v>07.08.21</c:v>
                </c:pt>
                <c:pt idx="23">
                  <c:v>08.08.21</c:v>
                </c:pt>
                <c:pt idx="24">
                  <c:v>09.08.21</c:v>
                </c:pt>
                <c:pt idx="25">
                  <c:v>10.08.21</c:v>
                </c:pt>
                <c:pt idx="26">
                  <c:v>11.08.21</c:v>
                </c:pt>
                <c:pt idx="27">
                  <c:v>12.08.21</c:v>
                </c:pt>
                <c:pt idx="28">
                  <c:v>13.08.21</c:v>
                </c:pt>
                <c:pt idx="29">
                  <c:v>14.08.21</c:v>
                </c:pt>
                <c:pt idx="30">
                  <c:v>15.08.21</c:v>
                </c:pt>
                <c:pt idx="31">
                  <c:v>16.08.21</c:v>
                </c:pt>
                <c:pt idx="32">
                  <c:v>17.08.21</c:v>
                </c:pt>
                <c:pt idx="33">
                  <c:v>18.08.21</c:v>
                </c:pt>
                <c:pt idx="34">
                  <c:v>19.08.21</c:v>
                </c:pt>
                <c:pt idx="35">
                  <c:v>20.08.21</c:v>
                </c:pt>
                <c:pt idx="36">
                  <c:v>21.08.21</c:v>
                </c:pt>
                <c:pt idx="37">
                  <c:v>22.08.21</c:v>
                </c:pt>
                <c:pt idx="38">
                  <c:v>23.08.21</c:v>
                </c:pt>
                <c:pt idx="39">
                  <c:v>24.08.21</c:v>
                </c:pt>
                <c:pt idx="40">
                  <c:v>25.08.21</c:v>
                </c:pt>
                <c:pt idx="41">
                  <c:v>26.08.21</c:v>
                </c:pt>
                <c:pt idx="42">
                  <c:v>27.08.21</c:v>
                </c:pt>
                <c:pt idx="43">
                  <c:v>28.08.21</c:v>
                </c:pt>
                <c:pt idx="44">
                  <c:v>29.08.21</c:v>
                </c:pt>
                <c:pt idx="45">
                  <c:v>30.08.21</c:v>
                </c:pt>
                <c:pt idx="46">
                  <c:v>31.08.21</c:v>
                </c:pt>
                <c:pt idx="47">
                  <c:v>01.09.21</c:v>
                </c:pt>
                <c:pt idx="48">
                  <c:v>02.09.21</c:v>
                </c:pt>
                <c:pt idx="49">
                  <c:v>03.09.21</c:v>
                </c:pt>
                <c:pt idx="50">
                  <c:v>04.09.21</c:v>
                </c:pt>
                <c:pt idx="51">
                  <c:v>05.09.21</c:v>
                </c:pt>
                <c:pt idx="52">
                  <c:v>06.09.21</c:v>
                </c:pt>
                <c:pt idx="53">
                  <c:v>07.09.21</c:v>
                </c:pt>
                <c:pt idx="54">
                  <c:v>08.09.21</c:v>
                </c:pt>
                <c:pt idx="55">
                  <c:v>09.09.21</c:v>
                </c:pt>
                <c:pt idx="56">
                  <c:v>10.09.21</c:v>
                </c:pt>
                <c:pt idx="57">
                  <c:v>11.09.21</c:v>
                </c:pt>
                <c:pt idx="58">
                  <c:v>12.09.21</c:v>
                </c:pt>
                <c:pt idx="59">
                  <c:v>13.09.21</c:v>
                </c:pt>
                <c:pt idx="60">
                  <c:v>14.09.21</c:v>
                </c:pt>
                <c:pt idx="61">
                  <c:v>15.09.21</c:v>
                </c:pt>
                <c:pt idx="62">
                  <c:v>16.09.21</c:v>
                </c:pt>
                <c:pt idx="63">
                  <c:v>17.09.21</c:v>
                </c:pt>
                <c:pt idx="64">
                  <c:v>18.09.21</c:v>
                </c:pt>
                <c:pt idx="65">
                  <c:v>19.09.21</c:v>
                </c:pt>
                <c:pt idx="66">
                  <c:v>20.09.21</c:v>
                </c:pt>
                <c:pt idx="67">
                  <c:v>21.09.21</c:v>
                </c:pt>
                <c:pt idx="68">
                  <c:v>22.09.21</c:v>
                </c:pt>
                <c:pt idx="69">
                  <c:v>23.09.21</c:v>
                </c:pt>
                <c:pt idx="70">
                  <c:v>24.09.21</c:v>
                </c:pt>
                <c:pt idx="71">
                  <c:v>25.09.21</c:v>
                </c:pt>
                <c:pt idx="72">
                  <c:v>26.09.21</c:v>
                </c:pt>
                <c:pt idx="73">
                  <c:v>27.09.21</c:v>
                </c:pt>
                <c:pt idx="74">
                  <c:v>28.09.21</c:v>
                </c:pt>
                <c:pt idx="75">
                  <c:v>29.09.21</c:v>
                </c:pt>
                <c:pt idx="76">
                  <c:v>30.09.21</c:v>
                </c:pt>
                <c:pt idx="77">
                  <c:v>01.10.21</c:v>
                </c:pt>
                <c:pt idx="78">
                  <c:v>02.10.21</c:v>
                </c:pt>
                <c:pt idx="79">
                  <c:v>03.10.21</c:v>
                </c:pt>
                <c:pt idx="80">
                  <c:v>04.10.21</c:v>
                </c:pt>
                <c:pt idx="81">
                  <c:v>05.10.21</c:v>
                </c:pt>
                <c:pt idx="82">
                  <c:v>06.10.21</c:v>
                </c:pt>
                <c:pt idx="83">
                  <c:v>07.10.21</c:v>
                </c:pt>
                <c:pt idx="84">
                  <c:v>08.10.21</c:v>
                </c:pt>
                <c:pt idx="85">
                  <c:v>09.10.21</c:v>
                </c:pt>
                <c:pt idx="86">
                  <c:v>10.10.21</c:v>
                </c:pt>
                <c:pt idx="87">
                  <c:v>11.10.21</c:v>
                </c:pt>
                <c:pt idx="88">
                  <c:v>12.10.21</c:v>
                </c:pt>
                <c:pt idx="89">
                  <c:v>13.10.21</c:v>
                </c:pt>
                <c:pt idx="90">
                  <c:v>14.10.21</c:v>
                </c:pt>
                <c:pt idx="91">
                  <c:v>15.10.21</c:v>
                </c:pt>
                <c:pt idx="92">
                  <c:v>16.10.21</c:v>
                </c:pt>
                <c:pt idx="93">
                  <c:v>17.10.21</c:v>
                </c:pt>
                <c:pt idx="94">
                  <c:v>18.10.21</c:v>
                </c:pt>
                <c:pt idx="95">
                  <c:v>19.10.21</c:v>
                </c:pt>
                <c:pt idx="96">
                  <c:v>20.10.21</c:v>
                </c:pt>
                <c:pt idx="97">
                  <c:v>21.10.21</c:v>
                </c:pt>
                <c:pt idx="98">
                  <c:v>22.10.21</c:v>
                </c:pt>
                <c:pt idx="99">
                  <c:v>23.10.21</c:v>
                </c:pt>
                <c:pt idx="100">
                  <c:v>24.10.21</c:v>
                </c:pt>
                <c:pt idx="101">
                  <c:v>25.10.21</c:v>
                </c:pt>
                <c:pt idx="102">
                  <c:v>26.10.21</c:v>
                </c:pt>
                <c:pt idx="103">
                  <c:v>27.10.21</c:v>
                </c:pt>
                <c:pt idx="104">
                  <c:v>28.10.21</c:v>
                </c:pt>
                <c:pt idx="105">
                  <c:v>29.10.21</c:v>
                </c:pt>
                <c:pt idx="106">
                  <c:v>30.10.21</c:v>
                </c:pt>
                <c:pt idx="107">
                  <c:v>31.10.21</c:v>
                </c:pt>
                <c:pt idx="108">
                  <c:v>01.11.21</c:v>
                </c:pt>
                <c:pt idx="109">
                  <c:v>02.11.21</c:v>
                </c:pt>
                <c:pt idx="110">
                  <c:v>03.11.21</c:v>
                </c:pt>
                <c:pt idx="111">
                  <c:v>04.11.21</c:v>
                </c:pt>
                <c:pt idx="112">
                  <c:v>05.11.21</c:v>
                </c:pt>
                <c:pt idx="113">
                  <c:v>06.11.21</c:v>
                </c:pt>
                <c:pt idx="114">
                  <c:v>07.11.21</c:v>
                </c:pt>
                <c:pt idx="115">
                  <c:v>08.11.21</c:v>
                </c:pt>
                <c:pt idx="116">
                  <c:v>09.11.21</c:v>
                </c:pt>
                <c:pt idx="117">
                  <c:v>10.11.21</c:v>
                </c:pt>
                <c:pt idx="118">
                  <c:v>11.11.21</c:v>
                </c:pt>
                <c:pt idx="119">
                  <c:v>12.11.21</c:v>
                </c:pt>
                <c:pt idx="120">
                  <c:v>13.11.21</c:v>
                </c:pt>
                <c:pt idx="121">
                  <c:v>14.11.21</c:v>
                </c:pt>
                <c:pt idx="122">
                  <c:v>15.11.21</c:v>
                </c:pt>
                <c:pt idx="123">
                  <c:v>16.11.21</c:v>
                </c:pt>
                <c:pt idx="124">
                  <c:v>17.11.21</c:v>
                </c:pt>
                <c:pt idx="125">
                  <c:v>18.11.21</c:v>
                </c:pt>
                <c:pt idx="126">
                  <c:v>19.11.21</c:v>
                </c:pt>
                <c:pt idx="127">
                  <c:v>20.11.21</c:v>
                </c:pt>
                <c:pt idx="128">
                  <c:v>21.11.21</c:v>
                </c:pt>
                <c:pt idx="129">
                  <c:v>22.11.21</c:v>
                </c:pt>
                <c:pt idx="130">
                  <c:v>23.11.21</c:v>
                </c:pt>
                <c:pt idx="131">
                  <c:v>24.11.21</c:v>
                </c:pt>
                <c:pt idx="132">
                  <c:v>25.11.21</c:v>
                </c:pt>
                <c:pt idx="133">
                  <c:v>26.11.21</c:v>
                </c:pt>
                <c:pt idx="134">
                  <c:v>27.11.21</c:v>
                </c:pt>
                <c:pt idx="135">
                  <c:v>28.11.21</c:v>
                </c:pt>
                <c:pt idx="136">
                  <c:v>29.11.21</c:v>
                </c:pt>
                <c:pt idx="137">
                  <c:v>30.11.21</c:v>
                </c:pt>
                <c:pt idx="138">
                  <c:v>01.12.21</c:v>
                </c:pt>
                <c:pt idx="139">
                  <c:v>02.12.21</c:v>
                </c:pt>
                <c:pt idx="140">
                  <c:v>03.12.21</c:v>
                </c:pt>
                <c:pt idx="141">
                  <c:v>04.12.21</c:v>
                </c:pt>
                <c:pt idx="142">
                  <c:v>05.12.21</c:v>
                </c:pt>
                <c:pt idx="143">
                  <c:v>06.12.21</c:v>
                </c:pt>
                <c:pt idx="144">
                  <c:v>07.12.21</c:v>
                </c:pt>
                <c:pt idx="145">
                  <c:v>08.12.21</c:v>
                </c:pt>
                <c:pt idx="146">
                  <c:v>09.12.21</c:v>
                </c:pt>
                <c:pt idx="147">
                  <c:v>10.12.21</c:v>
                </c:pt>
                <c:pt idx="148">
                  <c:v>11.12.21</c:v>
                </c:pt>
                <c:pt idx="149">
                  <c:v>12.12.21</c:v>
                </c:pt>
                <c:pt idx="150">
                  <c:v>13.12.21</c:v>
                </c:pt>
                <c:pt idx="151">
                  <c:v>14.12.21</c:v>
                </c:pt>
                <c:pt idx="152">
                  <c:v>15.12.21</c:v>
                </c:pt>
                <c:pt idx="153">
                  <c:v>16.12.21</c:v>
                </c:pt>
                <c:pt idx="154">
                  <c:v>17.12.21</c:v>
                </c:pt>
                <c:pt idx="155">
                  <c:v>18.12.21</c:v>
                </c:pt>
                <c:pt idx="156">
                  <c:v>19.12.21</c:v>
                </c:pt>
                <c:pt idx="157">
                  <c:v>20.12.21</c:v>
                </c:pt>
                <c:pt idx="158">
                  <c:v>21.12.21</c:v>
                </c:pt>
                <c:pt idx="159">
                  <c:v>22.12.21</c:v>
                </c:pt>
                <c:pt idx="160">
                  <c:v>23.12.21</c:v>
                </c:pt>
                <c:pt idx="161">
                  <c:v>24.12.21</c:v>
                </c:pt>
                <c:pt idx="162">
                  <c:v>25.12.21</c:v>
                </c:pt>
                <c:pt idx="163">
                  <c:v>26.12.21</c:v>
                </c:pt>
                <c:pt idx="164">
                  <c:v>27.12.21</c:v>
                </c:pt>
                <c:pt idx="165">
                  <c:v>28.12.21</c:v>
                </c:pt>
                <c:pt idx="166">
                  <c:v>29.12.21</c:v>
                </c:pt>
                <c:pt idx="167">
                  <c:v>30.12.21</c:v>
                </c:pt>
                <c:pt idx="168">
                  <c:v>31.12.21</c:v>
                </c:pt>
                <c:pt idx="169">
                  <c:v>01.01.22</c:v>
                </c:pt>
                <c:pt idx="170">
                  <c:v>02.01.22</c:v>
                </c:pt>
                <c:pt idx="171">
                  <c:v>03.01.22</c:v>
                </c:pt>
                <c:pt idx="172">
                  <c:v>04.01.22</c:v>
                </c:pt>
                <c:pt idx="173">
                  <c:v>05.01.22</c:v>
                </c:pt>
                <c:pt idx="174">
                  <c:v>06.01.22</c:v>
                </c:pt>
                <c:pt idx="175">
                  <c:v>07.01.22</c:v>
                </c:pt>
                <c:pt idx="176">
                  <c:v>08.01.22</c:v>
                </c:pt>
                <c:pt idx="177">
                  <c:v>09.01.22</c:v>
                </c:pt>
                <c:pt idx="178">
                  <c:v>10.01.22</c:v>
                </c:pt>
                <c:pt idx="179">
                  <c:v>11.01.22</c:v>
                </c:pt>
                <c:pt idx="180">
                  <c:v>12.01.22</c:v>
                </c:pt>
                <c:pt idx="181">
                  <c:v>13.01.22</c:v>
                </c:pt>
                <c:pt idx="182">
                  <c:v>14.01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4</c:v>
                </c:pt>
                <c:pt idx="4">
                  <c:v>0</c:v>
                </c:pt>
                <c:pt idx="5">
                  <c:v>4</c:v>
                </c:pt>
                <c:pt idx="6">
                  <c:v>0</c:v>
                </c:pt>
                <c:pt idx="7">
                  <c:v>4</c:v>
                </c:pt>
                <c:pt idx="8">
                  <c:v>1</c:v>
                </c:pt>
                <c:pt idx="9">
                  <c:v>1</c:v>
                </c:pt>
                <c:pt idx="10">
                  <c:v>3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2</c:v>
                </c:pt>
                <c:pt idx="19">
                  <c:v>1</c:v>
                </c:pt>
                <c:pt idx="20">
                  <c:v>0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1</c:v>
                </c:pt>
                <c:pt idx="28">
                  <c:v>2</c:v>
                </c:pt>
                <c:pt idx="29">
                  <c:v>3</c:v>
                </c:pt>
                <c:pt idx="30">
                  <c:v>1</c:v>
                </c:pt>
                <c:pt idx="31">
                  <c:v>3</c:v>
                </c:pt>
                <c:pt idx="32">
                  <c:v>3</c:v>
                </c:pt>
                <c:pt idx="33">
                  <c:v>2</c:v>
                </c:pt>
                <c:pt idx="34">
                  <c:v>1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4</c:v>
                </c:pt>
                <c:pt idx="39">
                  <c:v>2</c:v>
                </c:pt>
                <c:pt idx="40">
                  <c:v>0</c:v>
                </c:pt>
                <c:pt idx="41">
                  <c:v>2</c:v>
                </c:pt>
                <c:pt idx="42">
                  <c:v>1</c:v>
                </c:pt>
                <c:pt idx="43">
                  <c:v>2</c:v>
                </c:pt>
                <c:pt idx="44">
                  <c:v>1</c:v>
                </c:pt>
                <c:pt idx="45">
                  <c:v>0</c:v>
                </c:pt>
                <c:pt idx="46">
                  <c:v>2</c:v>
                </c:pt>
                <c:pt idx="47">
                  <c:v>1</c:v>
                </c:pt>
                <c:pt idx="48">
                  <c:v>5</c:v>
                </c:pt>
                <c:pt idx="49">
                  <c:v>6</c:v>
                </c:pt>
                <c:pt idx="50">
                  <c:v>1</c:v>
                </c:pt>
                <c:pt idx="51">
                  <c:v>0</c:v>
                </c:pt>
                <c:pt idx="52">
                  <c:v>2</c:v>
                </c:pt>
                <c:pt idx="53">
                  <c:v>6</c:v>
                </c:pt>
                <c:pt idx="54">
                  <c:v>1</c:v>
                </c:pt>
                <c:pt idx="55">
                  <c:v>4</c:v>
                </c:pt>
                <c:pt idx="56">
                  <c:v>0</c:v>
                </c:pt>
                <c:pt idx="57">
                  <c:v>1</c:v>
                </c:pt>
                <c:pt idx="58">
                  <c:v>2</c:v>
                </c:pt>
                <c:pt idx="59">
                  <c:v>3</c:v>
                </c:pt>
                <c:pt idx="60">
                  <c:v>4</c:v>
                </c:pt>
                <c:pt idx="61">
                  <c:v>3</c:v>
                </c:pt>
                <c:pt idx="62">
                  <c:v>7</c:v>
                </c:pt>
                <c:pt idx="63">
                  <c:v>5</c:v>
                </c:pt>
                <c:pt idx="64">
                  <c:v>2</c:v>
                </c:pt>
                <c:pt idx="65">
                  <c:v>2</c:v>
                </c:pt>
                <c:pt idx="66">
                  <c:v>10</c:v>
                </c:pt>
                <c:pt idx="67">
                  <c:v>7</c:v>
                </c:pt>
                <c:pt idx="68">
                  <c:v>6</c:v>
                </c:pt>
                <c:pt idx="69">
                  <c:v>5</c:v>
                </c:pt>
                <c:pt idx="70">
                  <c:v>7</c:v>
                </c:pt>
                <c:pt idx="71">
                  <c:v>6</c:v>
                </c:pt>
                <c:pt idx="72">
                  <c:v>6</c:v>
                </c:pt>
                <c:pt idx="73">
                  <c:v>5</c:v>
                </c:pt>
                <c:pt idx="74">
                  <c:v>7</c:v>
                </c:pt>
                <c:pt idx="75">
                  <c:v>12</c:v>
                </c:pt>
                <c:pt idx="76">
                  <c:v>15</c:v>
                </c:pt>
                <c:pt idx="77">
                  <c:v>7</c:v>
                </c:pt>
                <c:pt idx="78">
                  <c:v>5</c:v>
                </c:pt>
                <c:pt idx="79">
                  <c:v>8</c:v>
                </c:pt>
                <c:pt idx="80">
                  <c:v>10</c:v>
                </c:pt>
                <c:pt idx="81">
                  <c:v>12</c:v>
                </c:pt>
                <c:pt idx="82">
                  <c:v>9</c:v>
                </c:pt>
                <c:pt idx="83">
                  <c:v>8</c:v>
                </c:pt>
                <c:pt idx="84">
                  <c:v>9</c:v>
                </c:pt>
                <c:pt idx="85">
                  <c:v>5</c:v>
                </c:pt>
                <c:pt idx="86">
                  <c:v>4</c:v>
                </c:pt>
                <c:pt idx="87">
                  <c:v>17</c:v>
                </c:pt>
                <c:pt idx="88">
                  <c:v>17</c:v>
                </c:pt>
                <c:pt idx="89">
                  <c:v>20</c:v>
                </c:pt>
                <c:pt idx="90">
                  <c:v>19</c:v>
                </c:pt>
                <c:pt idx="91">
                  <c:v>17</c:v>
                </c:pt>
                <c:pt idx="92">
                  <c:v>10</c:v>
                </c:pt>
                <c:pt idx="93">
                  <c:v>10</c:v>
                </c:pt>
                <c:pt idx="94">
                  <c:v>32</c:v>
                </c:pt>
                <c:pt idx="95">
                  <c:v>25</c:v>
                </c:pt>
                <c:pt idx="96">
                  <c:v>24</c:v>
                </c:pt>
                <c:pt idx="97">
                  <c:v>49</c:v>
                </c:pt>
                <c:pt idx="98">
                  <c:v>38</c:v>
                </c:pt>
                <c:pt idx="99">
                  <c:v>31</c:v>
                </c:pt>
                <c:pt idx="100">
                  <c:v>11</c:v>
                </c:pt>
                <c:pt idx="101">
                  <c:v>58</c:v>
                </c:pt>
                <c:pt idx="102">
                  <c:v>63</c:v>
                </c:pt>
                <c:pt idx="103">
                  <c:v>71</c:v>
                </c:pt>
                <c:pt idx="104">
                  <c:v>32</c:v>
                </c:pt>
                <c:pt idx="105">
                  <c:v>76</c:v>
                </c:pt>
                <c:pt idx="106">
                  <c:v>56</c:v>
                </c:pt>
                <c:pt idx="107">
                  <c:v>37</c:v>
                </c:pt>
                <c:pt idx="108">
                  <c:v>103</c:v>
                </c:pt>
                <c:pt idx="109">
                  <c:v>100</c:v>
                </c:pt>
                <c:pt idx="110">
                  <c:v>107</c:v>
                </c:pt>
                <c:pt idx="111">
                  <c:v>95</c:v>
                </c:pt>
                <c:pt idx="112">
                  <c:v>107</c:v>
                </c:pt>
                <c:pt idx="113">
                  <c:v>78</c:v>
                </c:pt>
                <c:pt idx="114">
                  <c:v>25</c:v>
                </c:pt>
                <c:pt idx="115">
                  <c:v>120</c:v>
                </c:pt>
                <c:pt idx="116">
                  <c:v>133</c:v>
                </c:pt>
                <c:pt idx="117">
                  <c:v>164</c:v>
                </c:pt>
                <c:pt idx="118">
                  <c:v>91</c:v>
                </c:pt>
                <c:pt idx="119">
                  <c:v>150</c:v>
                </c:pt>
                <c:pt idx="120">
                  <c:v>86</c:v>
                </c:pt>
                <c:pt idx="121">
                  <c:v>52</c:v>
                </c:pt>
                <c:pt idx="122">
                  <c:v>148</c:v>
                </c:pt>
                <c:pt idx="123">
                  <c:v>214</c:v>
                </c:pt>
                <c:pt idx="124">
                  <c:v>106</c:v>
                </c:pt>
                <c:pt idx="125">
                  <c:v>152</c:v>
                </c:pt>
                <c:pt idx="126">
                  <c:v>213</c:v>
                </c:pt>
                <c:pt idx="127">
                  <c:v>145</c:v>
                </c:pt>
                <c:pt idx="128">
                  <c:v>78</c:v>
                </c:pt>
                <c:pt idx="129">
                  <c:v>181</c:v>
                </c:pt>
                <c:pt idx="130">
                  <c:v>239</c:v>
                </c:pt>
                <c:pt idx="131">
                  <c:v>129</c:v>
                </c:pt>
                <c:pt idx="132">
                  <c:v>197</c:v>
                </c:pt>
                <c:pt idx="133">
                  <c:v>177</c:v>
                </c:pt>
                <c:pt idx="134">
                  <c:v>99</c:v>
                </c:pt>
                <c:pt idx="135">
                  <c:v>74</c:v>
                </c:pt>
                <c:pt idx="136">
                  <c:v>187</c:v>
                </c:pt>
                <c:pt idx="137">
                  <c:v>149</c:v>
                </c:pt>
                <c:pt idx="138">
                  <c:v>155</c:v>
                </c:pt>
                <c:pt idx="139">
                  <c:v>133</c:v>
                </c:pt>
                <c:pt idx="140">
                  <c:v>127</c:v>
                </c:pt>
                <c:pt idx="141">
                  <c:v>79</c:v>
                </c:pt>
                <c:pt idx="142">
                  <c:v>59</c:v>
                </c:pt>
                <c:pt idx="143">
                  <c:v>150</c:v>
                </c:pt>
                <c:pt idx="144">
                  <c:v>143</c:v>
                </c:pt>
                <c:pt idx="145">
                  <c:v>108</c:v>
                </c:pt>
                <c:pt idx="146">
                  <c:v>118</c:v>
                </c:pt>
                <c:pt idx="147">
                  <c:v>104</c:v>
                </c:pt>
                <c:pt idx="148">
                  <c:v>70</c:v>
                </c:pt>
                <c:pt idx="149">
                  <c:v>50</c:v>
                </c:pt>
                <c:pt idx="150">
                  <c:v>95</c:v>
                </c:pt>
                <c:pt idx="151">
                  <c:v>113</c:v>
                </c:pt>
                <c:pt idx="152">
                  <c:v>77</c:v>
                </c:pt>
                <c:pt idx="153">
                  <c:v>60</c:v>
                </c:pt>
                <c:pt idx="154">
                  <c:v>71</c:v>
                </c:pt>
                <c:pt idx="155">
                  <c:v>45</c:v>
                </c:pt>
                <c:pt idx="156">
                  <c:v>29</c:v>
                </c:pt>
                <c:pt idx="157">
                  <c:v>82</c:v>
                </c:pt>
                <c:pt idx="158">
                  <c:v>74</c:v>
                </c:pt>
                <c:pt idx="159">
                  <c:v>50</c:v>
                </c:pt>
                <c:pt idx="160">
                  <c:v>55</c:v>
                </c:pt>
                <c:pt idx="161">
                  <c:v>17</c:v>
                </c:pt>
                <c:pt idx="162">
                  <c:v>18</c:v>
                </c:pt>
                <c:pt idx="163">
                  <c:v>16</c:v>
                </c:pt>
                <c:pt idx="164">
                  <c:v>71</c:v>
                </c:pt>
                <c:pt idx="165">
                  <c:v>84</c:v>
                </c:pt>
                <c:pt idx="166">
                  <c:v>50</c:v>
                </c:pt>
                <c:pt idx="167">
                  <c:v>46</c:v>
                </c:pt>
                <c:pt idx="168">
                  <c:v>43</c:v>
                </c:pt>
                <c:pt idx="169">
                  <c:v>10</c:v>
                </c:pt>
                <c:pt idx="170">
                  <c:v>33</c:v>
                </c:pt>
                <c:pt idx="171">
                  <c:v>80</c:v>
                </c:pt>
                <c:pt idx="172">
                  <c:v>66</c:v>
                </c:pt>
                <c:pt idx="173">
                  <c:v>44</c:v>
                </c:pt>
                <c:pt idx="174">
                  <c:v>49</c:v>
                </c:pt>
                <c:pt idx="175">
                  <c:v>56</c:v>
                </c:pt>
                <c:pt idx="176">
                  <c:v>32</c:v>
                </c:pt>
                <c:pt idx="177">
                  <c:v>22</c:v>
                </c:pt>
                <c:pt idx="178">
                  <c:v>58</c:v>
                </c:pt>
                <c:pt idx="179">
                  <c:v>87</c:v>
                </c:pt>
                <c:pt idx="180">
                  <c:v>80</c:v>
                </c:pt>
                <c:pt idx="181">
                  <c:v>75</c:v>
                </c:pt>
                <c:pt idx="182">
                  <c:v>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-5.128803127217132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A6A6A6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16.07.21</c:v>
                </c:pt>
                <c:pt idx="1">
                  <c:v>17.07.21</c:v>
                </c:pt>
                <c:pt idx="2">
                  <c:v>18.07.21</c:v>
                </c:pt>
                <c:pt idx="3">
                  <c:v>19.07.21</c:v>
                </c:pt>
                <c:pt idx="4">
                  <c:v>20.07.21</c:v>
                </c:pt>
                <c:pt idx="5">
                  <c:v>21.07.21</c:v>
                </c:pt>
                <c:pt idx="6">
                  <c:v>22.07.21</c:v>
                </c:pt>
                <c:pt idx="7">
                  <c:v>23.07.21</c:v>
                </c:pt>
                <c:pt idx="8">
                  <c:v>24.07.21</c:v>
                </c:pt>
                <c:pt idx="9">
                  <c:v>25.07.21</c:v>
                </c:pt>
                <c:pt idx="10">
                  <c:v>26.07.21</c:v>
                </c:pt>
                <c:pt idx="11">
                  <c:v>27.07.21</c:v>
                </c:pt>
                <c:pt idx="12">
                  <c:v>28.07.21</c:v>
                </c:pt>
                <c:pt idx="13">
                  <c:v>29.07.21</c:v>
                </c:pt>
                <c:pt idx="14">
                  <c:v>30.07.21</c:v>
                </c:pt>
                <c:pt idx="15">
                  <c:v>31.07.21</c:v>
                </c:pt>
                <c:pt idx="16">
                  <c:v>01.08.21</c:v>
                </c:pt>
                <c:pt idx="17">
                  <c:v>02.08.21</c:v>
                </c:pt>
                <c:pt idx="18">
                  <c:v>03.08.21</c:v>
                </c:pt>
                <c:pt idx="19">
                  <c:v>04.08.21</c:v>
                </c:pt>
                <c:pt idx="20">
                  <c:v>05.08.21</c:v>
                </c:pt>
                <c:pt idx="21">
                  <c:v>06.08.21</c:v>
                </c:pt>
                <c:pt idx="22">
                  <c:v>07.08.21</c:v>
                </c:pt>
                <c:pt idx="23">
                  <c:v>08.08.21</c:v>
                </c:pt>
                <c:pt idx="24">
                  <c:v>09.08.21</c:v>
                </c:pt>
                <c:pt idx="25">
                  <c:v>10.08.21</c:v>
                </c:pt>
                <c:pt idx="26">
                  <c:v>11.08.21</c:v>
                </c:pt>
                <c:pt idx="27">
                  <c:v>12.08.21</c:v>
                </c:pt>
                <c:pt idx="28">
                  <c:v>13.08.21</c:v>
                </c:pt>
                <c:pt idx="29">
                  <c:v>14.08.21</c:v>
                </c:pt>
                <c:pt idx="30">
                  <c:v>15.08.21</c:v>
                </c:pt>
                <c:pt idx="31">
                  <c:v>16.08.21</c:v>
                </c:pt>
                <c:pt idx="32">
                  <c:v>17.08.21</c:v>
                </c:pt>
                <c:pt idx="33">
                  <c:v>18.08.21</c:v>
                </c:pt>
                <c:pt idx="34">
                  <c:v>19.08.21</c:v>
                </c:pt>
                <c:pt idx="35">
                  <c:v>20.08.21</c:v>
                </c:pt>
                <c:pt idx="36">
                  <c:v>21.08.21</c:v>
                </c:pt>
                <c:pt idx="37">
                  <c:v>22.08.21</c:v>
                </c:pt>
                <c:pt idx="38">
                  <c:v>23.08.21</c:v>
                </c:pt>
                <c:pt idx="39">
                  <c:v>24.08.21</c:v>
                </c:pt>
                <c:pt idx="40">
                  <c:v>25.08.21</c:v>
                </c:pt>
                <c:pt idx="41">
                  <c:v>26.08.21</c:v>
                </c:pt>
                <c:pt idx="42">
                  <c:v>27.08.21</c:v>
                </c:pt>
                <c:pt idx="43">
                  <c:v>28.08.21</c:v>
                </c:pt>
                <c:pt idx="44">
                  <c:v>29.08.21</c:v>
                </c:pt>
                <c:pt idx="45">
                  <c:v>30.08.21</c:v>
                </c:pt>
                <c:pt idx="46">
                  <c:v>31.08.21</c:v>
                </c:pt>
                <c:pt idx="47">
                  <c:v>01.09.21</c:v>
                </c:pt>
                <c:pt idx="48">
                  <c:v>02.09.21</c:v>
                </c:pt>
                <c:pt idx="49">
                  <c:v>03.09.21</c:v>
                </c:pt>
                <c:pt idx="50">
                  <c:v>04.09.21</c:v>
                </c:pt>
                <c:pt idx="51">
                  <c:v>05.09.21</c:v>
                </c:pt>
                <c:pt idx="52">
                  <c:v>06.09.21</c:v>
                </c:pt>
                <c:pt idx="53">
                  <c:v>07.09.21</c:v>
                </c:pt>
                <c:pt idx="54">
                  <c:v>08.09.21</c:v>
                </c:pt>
                <c:pt idx="55">
                  <c:v>09.09.21</c:v>
                </c:pt>
                <c:pt idx="56">
                  <c:v>10.09.21</c:v>
                </c:pt>
                <c:pt idx="57">
                  <c:v>11.09.21</c:v>
                </c:pt>
                <c:pt idx="58">
                  <c:v>12.09.21</c:v>
                </c:pt>
                <c:pt idx="59">
                  <c:v>13.09.21</c:v>
                </c:pt>
                <c:pt idx="60">
                  <c:v>14.09.21</c:v>
                </c:pt>
                <c:pt idx="61">
                  <c:v>15.09.21</c:v>
                </c:pt>
                <c:pt idx="62">
                  <c:v>16.09.21</c:v>
                </c:pt>
                <c:pt idx="63">
                  <c:v>17.09.21</c:v>
                </c:pt>
                <c:pt idx="64">
                  <c:v>18.09.21</c:v>
                </c:pt>
                <c:pt idx="65">
                  <c:v>19.09.21</c:v>
                </c:pt>
                <c:pt idx="66">
                  <c:v>20.09.21</c:v>
                </c:pt>
                <c:pt idx="67">
                  <c:v>21.09.21</c:v>
                </c:pt>
                <c:pt idx="68">
                  <c:v>22.09.21</c:v>
                </c:pt>
                <c:pt idx="69">
                  <c:v>23.09.21</c:v>
                </c:pt>
                <c:pt idx="70">
                  <c:v>24.09.21</c:v>
                </c:pt>
                <c:pt idx="71">
                  <c:v>25.09.21</c:v>
                </c:pt>
                <c:pt idx="72">
                  <c:v>26.09.21</c:v>
                </c:pt>
                <c:pt idx="73">
                  <c:v>27.09.21</c:v>
                </c:pt>
                <c:pt idx="74">
                  <c:v>28.09.21</c:v>
                </c:pt>
                <c:pt idx="75">
                  <c:v>29.09.21</c:v>
                </c:pt>
                <c:pt idx="76">
                  <c:v>30.09.21</c:v>
                </c:pt>
                <c:pt idx="77">
                  <c:v>01.10.21</c:v>
                </c:pt>
                <c:pt idx="78">
                  <c:v>02.10.21</c:v>
                </c:pt>
                <c:pt idx="79">
                  <c:v>03.10.21</c:v>
                </c:pt>
                <c:pt idx="80">
                  <c:v>04.10.21</c:v>
                </c:pt>
                <c:pt idx="81">
                  <c:v>05.10.21</c:v>
                </c:pt>
                <c:pt idx="82">
                  <c:v>06.10.21</c:v>
                </c:pt>
                <c:pt idx="83">
                  <c:v>07.10.21</c:v>
                </c:pt>
                <c:pt idx="84">
                  <c:v>08.10.21</c:v>
                </c:pt>
                <c:pt idx="85">
                  <c:v>09.10.21</c:v>
                </c:pt>
                <c:pt idx="86">
                  <c:v>10.10.21</c:v>
                </c:pt>
                <c:pt idx="87">
                  <c:v>11.10.21</c:v>
                </c:pt>
                <c:pt idx="88">
                  <c:v>12.10.21</c:v>
                </c:pt>
                <c:pt idx="89">
                  <c:v>13.10.21</c:v>
                </c:pt>
                <c:pt idx="90">
                  <c:v>14.10.21</c:v>
                </c:pt>
                <c:pt idx="91">
                  <c:v>15.10.21</c:v>
                </c:pt>
                <c:pt idx="92">
                  <c:v>16.10.21</c:v>
                </c:pt>
                <c:pt idx="93">
                  <c:v>17.10.21</c:v>
                </c:pt>
                <c:pt idx="94">
                  <c:v>18.10.21</c:v>
                </c:pt>
                <c:pt idx="95">
                  <c:v>19.10.21</c:v>
                </c:pt>
                <c:pt idx="96">
                  <c:v>20.10.21</c:v>
                </c:pt>
                <c:pt idx="97">
                  <c:v>21.10.21</c:v>
                </c:pt>
                <c:pt idx="98">
                  <c:v>22.10.21</c:v>
                </c:pt>
                <c:pt idx="99">
                  <c:v>23.10.21</c:v>
                </c:pt>
                <c:pt idx="100">
                  <c:v>24.10.21</c:v>
                </c:pt>
                <c:pt idx="101">
                  <c:v>25.10.21</c:v>
                </c:pt>
                <c:pt idx="102">
                  <c:v>26.10.21</c:v>
                </c:pt>
                <c:pt idx="103">
                  <c:v>27.10.21</c:v>
                </c:pt>
                <c:pt idx="104">
                  <c:v>28.10.21</c:v>
                </c:pt>
                <c:pt idx="105">
                  <c:v>29.10.21</c:v>
                </c:pt>
                <c:pt idx="106">
                  <c:v>30.10.21</c:v>
                </c:pt>
                <c:pt idx="107">
                  <c:v>31.10.21</c:v>
                </c:pt>
                <c:pt idx="108">
                  <c:v>01.11.21</c:v>
                </c:pt>
                <c:pt idx="109">
                  <c:v>02.11.21</c:v>
                </c:pt>
                <c:pt idx="110">
                  <c:v>03.11.21</c:v>
                </c:pt>
                <c:pt idx="111">
                  <c:v>04.11.21</c:v>
                </c:pt>
                <c:pt idx="112">
                  <c:v>05.11.21</c:v>
                </c:pt>
                <c:pt idx="113">
                  <c:v>06.11.21</c:v>
                </c:pt>
                <c:pt idx="114">
                  <c:v>07.11.21</c:v>
                </c:pt>
                <c:pt idx="115">
                  <c:v>08.11.21</c:v>
                </c:pt>
                <c:pt idx="116">
                  <c:v>09.11.21</c:v>
                </c:pt>
                <c:pt idx="117">
                  <c:v>10.11.21</c:v>
                </c:pt>
                <c:pt idx="118">
                  <c:v>11.11.21</c:v>
                </c:pt>
                <c:pt idx="119">
                  <c:v>12.11.21</c:v>
                </c:pt>
                <c:pt idx="120">
                  <c:v>13.11.21</c:v>
                </c:pt>
                <c:pt idx="121">
                  <c:v>14.11.21</c:v>
                </c:pt>
                <c:pt idx="122">
                  <c:v>15.11.21</c:v>
                </c:pt>
                <c:pt idx="123">
                  <c:v>16.11.21</c:v>
                </c:pt>
                <c:pt idx="124">
                  <c:v>17.11.21</c:v>
                </c:pt>
                <c:pt idx="125">
                  <c:v>18.11.21</c:v>
                </c:pt>
                <c:pt idx="126">
                  <c:v>19.11.21</c:v>
                </c:pt>
                <c:pt idx="127">
                  <c:v>20.11.21</c:v>
                </c:pt>
                <c:pt idx="128">
                  <c:v>21.11.21</c:v>
                </c:pt>
                <c:pt idx="129">
                  <c:v>22.11.21</c:v>
                </c:pt>
                <c:pt idx="130">
                  <c:v>23.11.21</c:v>
                </c:pt>
                <c:pt idx="131">
                  <c:v>24.11.21</c:v>
                </c:pt>
                <c:pt idx="132">
                  <c:v>25.11.21</c:v>
                </c:pt>
                <c:pt idx="133">
                  <c:v>26.11.21</c:v>
                </c:pt>
                <c:pt idx="134">
                  <c:v>27.11.21</c:v>
                </c:pt>
                <c:pt idx="135">
                  <c:v>28.11.21</c:v>
                </c:pt>
                <c:pt idx="136">
                  <c:v>29.11.21</c:v>
                </c:pt>
                <c:pt idx="137">
                  <c:v>30.11.21</c:v>
                </c:pt>
                <c:pt idx="138">
                  <c:v>01.12.21</c:v>
                </c:pt>
                <c:pt idx="139">
                  <c:v>02.12.21</c:v>
                </c:pt>
                <c:pt idx="140">
                  <c:v>03.12.21</c:v>
                </c:pt>
                <c:pt idx="141">
                  <c:v>04.12.21</c:v>
                </c:pt>
                <c:pt idx="142">
                  <c:v>05.12.21</c:v>
                </c:pt>
                <c:pt idx="143">
                  <c:v>06.12.21</c:v>
                </c:pt>
                <c:pt idx="144">
                  <c:v>07.12.21</c:v>
                </c:pt>
                <c:pt idx="145">
                  <c:v>08.12.21</c:v>
                </c:pt>
                <c:pt idx="146">
                  <c:v>09.12.21</c:v>
                </c:pt>
                <c:pt idx="147">
                  <c:v>10.12.21</c:v>
                </c:pt>
                <c:pt idx="148">
                  <c:v>11.12.21</c:v>
                </c:pt>
                <c:pt idx="149">
                  <c:v>12.12.21</c:v>
                </c:pt>
                <c:pt idx="150">
                  <c:v>13.12.21</c:v>
                </c:pt>
                <c:pt idx="151">
                  <c:v>14.12.21</c:v>
                </c:pt>
                <c:pt idx="152">
                  <c:v>15.12.21</c:v>
                </c:pt>
                <c:pt idx="153">
                  <c:v>16.12.21</c:v>
                </c:pt>
                <c:pt idx="154">
                  <c:v>17.12.21</c:v>
                </c:pt>
                <c:pt idx="155">
                  <c:v>18.12.21</c:v>
                </c:pt>
                <c:pt idx="156">
                  <c:v>19.12.21</c:v>
                </c:pt>
                <c:pt idx="157">
                  <c:v>20.12.21</c:v>
                </c:pt>
                <c:pt idx="158">
                  <c:v>21.12.21</c:v>
                </c:pt>
                <c:pt idx="159">
                  <c:v>22.12.21</c:v>
                </c:pt>
                <c:pt idx="160">
                  <c:v>23.12.21</c:v>
                </c:pt>
                <c:pt idx="161">
                  <c:v>24.12.21</c:v>
                </c:pt>
                <c:pt idx="162">
                  <c:v>25.12.21</c:v>
                </c:pt>
                <c:pt idx="163">
                  <c:v>26.12.21</c:v>
                </c:pt>
                <c:pt idx="164">
                  <c:v>27.12.21</c:v>
                </c:pt>
                <c:pt idx="165">
                  <c:v>28.12.21</c:v>
                </c:pt>
                <c:pt idx="166">
                  <c:v>29.12.21</c:v>
                </c:pt>
                <c:pt idx="167">
                  <c:v>30.12.21</c:v>
                </c:pt>
                <c:pt idx="168">
                  <c:v>31.12.21</c:v>
                </c:pt>
                <c:pt idx="169">
                  <c:v>01.01.22</c:v>
                </c:pt>
                <c:pt idx="170">
                  <c:v>02.01.22</c:v>
                </c:pt>
                <c:pt idx="171">
                  <c:v>03.01.22</c:v>
                </c:pt>
                <c:pt idx="172">
                  <c:v>04.01.22</c:v>
                </c:pt>
                <c:pt idx="173">
                  <c:v>05.01.22</c:v>
                </c:pt>
                <c:pt idx="174">
                  <c:v>06.01.22</c:v>
                </c:pt>
                <c:pt idx="175">
                  <c:v>07.01.22</c:v>
                </c:pt>
                <c:pt idx="176">
                  <c:v>08.01.22</c:v>
                </c:pt>
                <c:pt idx="177">
                  <c:v>09.01.22</c:v>
                </c:pt>
                <c:pt idx="178">
                  <c:v>10.01.22</c:v>
                </c:pt>
                <c:pt idx="179">
                  <c:v>11.01.22</c:v>
                </c:pt>
                <c:pt idx="180">
                  <c:v>12.01.22</c:v>
                </c:pt>
                <c:pt idx="181">
                  <c:v>13.01.22</c:v>
                </c:pt>
                <c:pt idx="182">
                  <c:v>14.01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5</c:v>
                </c:pt>
                <c:pt idx="1">
                  <c:v>1</c:v>
                </c:pt>
                <c:pt idx="2">
                  <c:v>1</c:v>
                </c:pt>
                <c:pt idx="3">
                  <c:v>4</c:v>
                </c:pt>
                <c:pt idx="4">
                  <c:v>5</c:v>
                </c:pt>
                <c:pt idx="5">
                  <c:v>1</c:v>
                </c:pt>
                <c:pt idx="6">
                  <c:v>3</c:v>
                </c:pt>
                <c:pt idx="7">
                  <c:v>2</c:v>
                </c:pt>
                <c:pt idx="8">
                  <c:v>0</c:v>
                </c:pt>
                <c:pt idx="9">
                  <c:v>2</c:v>
                </c:pt>
                <c:pt idx="10">
                  <c:v>3</c:v>
                </c:pt>
                <c:pt idx="11">
                  <c:v>4</c:v>
                </c:pt>
                <c:pt idx="12">
                  <c:v>1</c:v>
                </c:pt>
                <c:pt idx="13">
                  <c:v>3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2</c:v>
                </c:pt>
                <c:pt idx="18">
                  <c:v>3</c:v>
                </c:pt>
                <c:pt idx="19">
                  <c:v>3</c:v>
                </c:pt>
                <c:pt idx="20">
                  <c:v>1</c:v>
                </c:pt>
                <c:pt idx="21">
                  <c:v>2</c:v>
                </c:pt>
                <c:pt idx="22">
                  <c:v>1</c:v>
                </c:pt>
                <c:pt idx="23">
                  <c:v>0</c:v>
                </c:pt>
                <c:pt idx="24">
                  <c:v>7</c:v>
                </c:pt>
                <c:pt idx="25">
                  <c:v>1</c:v>
                </c:pt>
                <c:pt idx="26">
                  <c:v>1</c:v>
                </c:pt>
                <c:pt idx="27">
                  <c:v>2</c:v>
                </c:pt>
                <c:pt idx="28">
                  <c:v>6</c:v>
                </c:pt>
                <c:pt idx="29">
                  <c:v>2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0</c:v>
                </c:pt>
                <c:pt idx="35">
                  <c:v>3</c:v>
                </c:pt>
                <c:pt idx="36">
                  <c:v>2</c:v>
                </c:pt>
                <c:pt idx="37">
                  <c:v>2</c:v>
                </c:pt>
                <c:pt idx="38">
                  <c:v>1</c:v>
                </c:pt>
                <c:pt idx="39">
                  <c:v>3</c:v>
                </c:pt>
                <c:pt idx="40">
                  <c:v>5</c:v>
                </c:pt>
                <c:pt idx="41">
                  <c:v>2</c:v>
                </c:pt>
                <c:pt idx="42">
                  <c:v>2</c:v>
                </c:pt>
                <c:pt idx="43">
                  <c:v>0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2</c:v>
                </c:pt>
                <c:pt idx="48">
                  <c:v>4</c:v>
                </c:pt>
                <c:pt idx="49">
                  <c:v>6</c:v>
                </c:pt>
                <c:pt idx="50">
                  <c:v>5</c:v>
                </c:pt>
                <c:pt idx="51">
                  <c:v>1</c:v>
                </c:pt>
                <c:pt idx="52">
                  <c:v>5</c:v>
                </c:pt>
                <c:pt idx="53">
                  <c:v>4</c:v>
                </c:pt>
                <c:pt idx="54">
                  <c:v>1</c:v>
                </c:pt>
                <c:pt idx="55">
                  <c:v>3</c:v>
                </c:pt>
                <c:pt idx="56">
                  <c:v>2</c:v>
                </c:pt>
                <c:pt idx="57">
                  <c:v>0</c:v>
                </c:pt>
                <c:pt idx="58">
                  <c:v>3</c:v>
                </c:pt>
                <c:pt idx="59">
                  <c:v>2</c:v>
                </c:pt>
                <c:pt idx="60">
                  <c:v>3</c:v>
                </c:pt>
                <c:pt idx="61">
                  <c:v>5</c:v>
                </c:pt>
                <c:pt idx="62">
                  <c:v>7</c:v>
                </c:pt>
                <c:pt idx="63">
                  <c:v>4</c:v>
                </c:pt>
                <c:pt idx="64">
                  <c:v>2</c:v>
                </c:pt>
                <c:pt idx="65">
                  <c:v>5</c:v>
                </c:pt>
                <c:pt idx="66">
                  <c:v>8</c:v>
                </c:pt>
                <c:pt idx="67">
                  <c:v>9</c:v>
                </c:pt>
                <c:pt idx="68">
                  <c:v>8</c:v>
                </c:pt>
                <c:pt idx="69">
                  <c:v>5</c:v>
                </c:pt>
                <c:pt idx="70">
                  <c:v>4</c:v>
                </c:pt>
                <c:pt idx="71">
                  <c:v>4</c:v>
                </c:pt>
                <c:pt idx="72">
                  <c:v>2</c:v>
                </c:pt>
                <c:pt idx="73">
                  <c:v>7</c:v>
                </c:pt>
                <c:pt idx="74">
                  <c:v>6</c:v>
                </c:pt>
                <c:pt idx="75">
                  <c:v>8</c:v>
                </c:pt>
                <c:pt idx="76">
                  <c:v>12</c:v>
                </c:pt>
                <c:pt idx="77">
                  <c:v>8</c:v>
                </c:pt>
                <c:pt idx="78">
                  <c:v>4</c:v>
                </c:pt>
                <c:pt idx="79">
                  <c:v>7</c:v>
                </c:pt>
                <c:pt idx="80">
                  <c:v>9</c:v>
                </c:pt>
                <c:pt idx="81">
                  <c:v>12</c:v>
                </c:pt>
                <c:pt idx="82">
                  <c:v>13</c:v>
                </c:pt>
                <c:pt idx="83">
                  <c:v>15</c:v>
                </c:pt>
                <c:pt idx="84">
                  <c:v>8</c:v>
                </c:pt>
                <c:pt idx="85">
                  <c:v>7</c:v>
                </c:pt>
                <c:pt idx="86">
                  <c:v>5</c:v>
                </c:pt>
                <c:pt idx="87">
                  <c:v>19</c:v>
                </c:pt>
                <c:pt idx="88">
                  <c:v>31</c:v>
                </c:pt>
                <c:pt idx="89">
                  <c:v>18</c:v>
                </c:pt>
                <c:pt idx="90">
                  <c:v>16</c:v>
                </c:pt>
                <c:pt idx="91">
                  <c:v>14</c:v>
                </c:pt>
                <c:pt idx="92">
                  <c:v>9</c:v>
                </c:pt>
                <c:pt idx="93">
                  <c:v>13</c:v>
                </c:pt>
                <c:pt idx="94">
                  <c:v>38</c:v>
                </c:pt>
                <c:pt idx="95">
                  <c:v>53</c:v>
                </c:pt>
                <c:pt idx="96">
                  <c:v>48</c:v>
                </c:pt>
                <c:pt idx="97">
                  <c:v>53</c:v>
                </c:pt>
                <c:pt idx="98">
                  <c:v>42</c:v>
                </c:pt>
                <c:pt idx="99">
                  <c:v>27</c:v>
                </c:pt>
                <c:pt idx="100">
                  <c:v>20</c:v>
                </c:pt>
                <c:pt idx="101">
                  <c:v>76</c:v>
                </c:pt>
                <c:pt idx="102">
                  <c:v>81</c:v>
                </c:pt>
                <c:pt idx="103">
                  <c:v>64</c:v>
                </c:pt>
                <c:pt idx="104">
                  <c:v>38</c:v>
                </c:pt>
                <c:pt idx="105">
                  <c:v>79</c:v>
                </c:pt>
                <c:pt idx="106">
                  <c:v>51</c:v>
                </c:pt>
                <c:pt idx="107">
                  <c:v>40</c:v>
                </c:pt>
                <c:pt idx="108">
                  <c:v>130</c:v>
                </c:pt>
                <c:pt idx="109">
                  <c:v>128</c:v>
                </c:pt>
                <c:pt idx="110">
                  <c:v>102</c:v>
                </c:pt>
                <c:pt idx="111">
                  <c:v>107</c:v>
                </c:pt>
                <c:pt idx="112">
                  <c:v>127</c:v>
                </c:pt>
                <c:pt idx="113">
                  <c:v>53</c:v>
                </c:pt>
                <c:pt idx="114">
                  <c:v>37</c:v>
                </c:pt>
                <c:pt idx="115">
                  <c:v>127</c:v>
                </c:pt>
                <c:pt idx="116">
                  <c:v>138</c:v>
                </c:pt>
                <c:pt idx="117">
                  <c:v>139</c:v>
                </c:pt>
                <c:pt idx="118">
                  <c:v>113</c:v>
                </c:pt>
                <c:pt idx="119">
                  <c:v>158</c:v>
                </c:pt>
                <c:pt idx="120">
                  <c:v>94</c:v>
                </c:pt>
                <c:pt idx="121">
                  <c:v>49</c:v>
                </c:pt>
                <c:pt idx="122">
                  <c:v>156</c:v>
                </c:pt>
                <c:pt idx="123">
                  <c:v>192</c:v>
                </c:pt>
                <c:pt idx="124">
                  <c:v>140</c:v>
                </c:pt>
                <c:pt idx="125">
                  <c:v>157</c:v>
                </c:pt>
                <c:pt idx="126">
                  <c:v>239</c:v>
                </c:pt>
                <c:pt idx="127">
                  <c:v>118</c:v>
                </c:pt>
                <c:pt idx="128">
                  <c:v>88</c:v>
                </c:pt>
                <c:pt idx="129">
                  <c:v>197</c:v>
                </c:pt>
                <c:pt idx="130">
                  <c:v>203</c:v>
                </c:pt>
                <c:pt idx="131">
                  <c:v>170</c:v>
                </c:pt>
                <c:pt idx="132">
                  <c:v>246</c:v>
                </c:pt>
                <c:pt idx="133">
                  <c:v>141</c:v>
                </c:pt>
                <c:pt idx="134">
                  <c:v>107</c:v>
                </c:pt>
                <c:pt idx="135">
                  <c:v>81</c:v>
                </c:pt>
                <c:pt idx="136">
                  <c:v>199</c:v>
                </c:pt>
                <c:pt idx="137">
                  <c:v>178</c:v>
                </c:pt>
                <c:pt idx="138">
                  <c:v>157</c:v>
                </c:pt>
                <c:pt idx="139">
                  <c:v>124</c:v>
                </c:pt>
                <c:pt idx="140">
                  <c:v>152</c:v>
                </c:pt>
                <c:pt idx="141">
                  <c:v>94</c:v>
                </c:pt>
                <c:pt idx="142">
                  <c:v>64</c:v>
                </c:pt>
                <c:pt idx="143">
                  <c:v>187</c:v>
                </c:pt>
                <c:pt idx="144">
                  <c:v>157</c:v>
                </c:pt>
                <c:pt idx="145">
                  <c:v>128</c:v>
                </c:pt>
                <c:pt idx="146">
                  <c:v>107</c:v>
                </c:pt>
                <c:pt idx="147">
                  <c:v>88</c:v>
                </c:pt>
                <c:pt idx="148">
                  <c:v>74</c:v>
                </c:pt>
                <c:pt idx="149">
                  <c:v>59</c:v>
                </c:pt>
                <c:pt idx="150">
                  <c:v>114</c:v>
                </c:pt>
                <c:pt idx="151">
                  <c:v>164</c:v>
                </c:pt>
                <c:pt idx="152">
                  <c:v>89</c:v>
                </c:pt>
                <c:pt idx="153">
                  <c:v>86</c:v>
                </c:pt>
                <c:pt idx="154">
                  <c:v>91</c:v>
                </c:pt>
                <c:pt idx="155">
                  <c:v>58</c:v>
                </c:pt>
                <c:pt idx="156">
                  <c:v>40</c:v>
                </c:pt>
                <c:pt idx="157">
                  <c:v>99</c:v>
                </c:pt>
                <c:pt idx="158">
                  <c:v>90</c:v>
                </c:pt>
                <c:pt idx="159">
                  <c:v>43</c:v>
                </c:pt>
                <c:pt idx="160">
                  <c:v>66</c:v>
                </c:pt>
                <c:pt idx="161">
                  <c:v>20</c:v>
                </c:pt>
                <c:pt idx="162">
                  <c:v>12</c:v>
                </c:pt>
                <c:pt idx="163">
                  <c:v>21</c:v>
                </c:pt>
                <c:pt idx="164">
                  <c:v>67</c:v>
                </c:pt>
                <c:pt idx="165">
                  <c:v>91</c:v>
                </c:pt>
                <c:pt idx="166">
                  <c:v>59</c:v>
                </c:pt>
                <c:pt idx="167">
                  <c:v>59</c:v>
                </c:pt>
                <c:pt idx="168">
                  <c:v>73</c:v>
                </c:pt>
                <c:pt idx="169">
                  <c:v>12</c:v>
                </c:pt>
                <c:pt idx="170">
                  <c:v>21</c:v>
                </c:pt>
                <c:pt idx="171">
                  <c:v>90</c:v>
                </c:pt>
                <c:pt idx="172">
                  <c:v>85</c:v>
                </c:pt>
                <c:pt idx="173">
                  <c:v>68</c:v>
                </c:pt>
                <c:pt idx="174">
                  <c:v>66</c:v>
                </c:pt>
                <c:pt idx="175">
                  <c:v>63</c:v>
                </c:pt>
                <c:pt idx="176">
                  <c:v>30</c:v>
                </c:pt>
                <c:pt idx="177">
                  <c:v>27</c:v>
                </c:pt>
                <c:pt idx="178">
                  <c:v>78</c:v>
                </c:pt>
                <c:pt idx="179">
                  <c:v>104</c:v>
                </c:pt>
                <c:pt idx="180">
                  <c:v>78</c:v>
                </c:pt>
                <c:pt idx="181">
                  <c:v>65</c:v>
                </c:pt>
                <c:pt idx="182">
                  <c:v>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ax val="3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331278320671922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16.07.21</c:v>
                </c:pt>
                <c:pt idx="1">
                  <c:v>17.07.21</c:v>
                </c:pt>
                <c:pt idx="2">
                  <c:v>18.07.21</c:v>
                </c:pt>
                <c:pt idx="3">
                  <c:v>19.07.21</c:v>
                </c:pt>
                <c:pt idx="4">
                  <c:v>20.07.21</c:v>
                </c:pt>
                <c:pt idx="5">
                  <c:v>21.07.21</c:v>
                </c:pt>
                <c:pt idx="6">
                  <c:v>22.07.21</c:v>
                </c:pt>
                <c:pt idx="7">
                  <c:v>23.07.21</c:v>
                </c:pt>
                <c:pt idx="8">
                  <c:v>24.07.21</c:v>
                </c:pt>
                <c:pt idx="9">
                  <c:v>25.07.21</c:v>
                </c:pt>
                <c:pt idx="10">
                  <c:v>26.07.21</c:v>
                </c:pt>
                <c:pt idx="11">
                  <c:v>27.07.21</c:v>
                </c:pt>
                <c:pt idx="12">
                  <c:v>28.07.21</c:v>
                </c:pt>
                <c:pt idx="13">
                  <c:v>29.07.21</c:v>
                </c:pt>
                <c:pt idx="14">
                  <c:v>30.07.21</c:v>
                </c:pt>
                <c:pt idx="15">
                  <c:v>31.07.21</c:v>
                </c:pt>
                <c:pt idx="16">
                  <c:v>01.08.21</c:v>
                </c:pt>
                <c:pt idx="17">
                  <c:v>02.08.21</c:v>
                </c:pt>
                <c:pt idx="18">
                  <c:v>03.08.21</c:v>
                </c:pt>
                <c:pt idx="19">
                  <c:v>04.08.21</c:v>
                </c:pt>
                <c:pt idx="20">
                  <c:v>05.08.21</c:v>
                </c:pt>
                <c:pt idx="21">
                  <c:v>06.08.21</c:v>
                </c:pt>
                <c:pt idx="22">
                  <c:v>07.08.21</c:v>
                </c:pt>
                <c:pt idx="23">
                  <c:v>08.08.21</c:v>
                </c:pt>
                <c:pt idx="24">
                  <c:v>09.08.21</c:v>
                </c:pt>
                <c:pt idx="25">
                  <c:v>10.08.21</c:v>
                </c:pt>
                <c:pt idx="26">
                  <c:v>11.08.21</c:v>
                </c:pt>
                <c:pt idx="27">
                  <c:v>12.08.21</c:v>
                </c:pt>
                <c:pt idx="28">
                  <c:v>13.08.21</c:v>
                </c:pt>
                <c:pt idx="29">
                  <c:v>14.08.21</c:v>
                </c:pt>
                <c:pt idx="30">
                  <c:v>15.08.21</c:v>
                </c:pt>
                <c:pt idx="31">
                  <c:v>16.08.21</c:v>
                </c:pt>
                <c:pt idx="32">
                  <c:v>17.08.21</c:v>
                </c:pt>
                <c:pt idx="33">
                  <c:v>18.08.21</c:v>
                </c:pt>
                <c:pt idx="34">
                  <c:v>19.08.21</c:v>
                </c:pt>
                <c:pt idx="35">
                  <c:v>20.08.21</c:v>
                </c:pt>
                <c:pt idx="36">
                  <c:v>21.08.21</c:v>
                </c:pt>
                <c:pt idx="37">
                  <c:v>22.08.21</c:v>
                </c:pt>
                <c:pt idx="38">
                  <c:v>23.08.21</c:v>
                </c:pt>
                <c:pt idx="39">
                  <c:v>24.08.21</c:v>
                </c:pt>
                <c:pt idx="40">
                  <c:v>25.08.21</c:v>
                </c:pt>
                <c:pt idx="41">
                  <c:v>26.08.21</c:v>
                </c:pt>
                <c:pt idx="42">
                  <c:v>27.08.21</c:v>
                </c:pt>
                <c:pt idx="43">
                  <c:v>28.08.21</c:v>
                </c:pt>
                <c:pt idx="44">
                  <c:v>29.08.21</c:v>
                </c:pt>
                <c:pt idx="45">
                  <c:v>30.08.21</c:v>
                </c:pt>
                <c:pt idx="46">
                  <c:v>31.08.21</c:v>
                </c:pt>
                <c:pt idx="47">
                  <c:v>01.09.21</c:v>
                </c:pt>
                <c:pt idx="48">
                  <c:v>02.09.21</c:v>
                </c:pt>
                <c:pt idx="49">
                  <c:v>03.09.21</c:v>
                </c:pt>
                <c:pt idx="50">
                  <c:v>04.09.21</c:v>
                </c:pt>
                <c:pt idx="51">
                  <c:v>05.09.21</c:v>
                </c:pt>
                <c:pt idx="52">
                  <c:v>06.09.21</c:v>
                </c:pt>
                <c:pt idx="53">
                  <c:v>07.09.21</c:v>
                </c:pt>
                <c:pt idx="54">
                  <c:v>08.09.21</c:v>
                </c:pt>
                <c:pt idx="55">
                  <c:v>09.09.21</c:v>
                </c:pt>
                <c:pt idx="56">
                  <c:v>10.09.21</c:v>
                </c:pt>
                <c:pt idx="57">
                  <c:v>11.09.21</c:v>
                </c:pt>
                <c:pt idx="58">
                  <c:v>12.09.21</c:v>
                </c:pt>
                <c:pt idx="59">
                  <c:v>13.09.21</c:v>
                </c:pt>
                <c:pt idx="60">
                  <c:v>14.09.21</c:v>
                </c:pt>
                <c:pt idx="61">
                  <c:v>15.09.21</c:v>
                </c:pt>
                <c:pt idx="62">
                  <c:v>16.09.21</c:v>
                </c:pt>
                <c:pt idx="63">
                  <c:v>17.09.21</c:v>
                </c:pt>
                <c:pt idx="64">
                  <c:v>18.09.21</c:v>
                </c:pt>
                <c:pt idx="65">
                  <c:v>19.09.21</c:v>
                </c:pt>
                <c:pt idx="66">
                  <c:v>20.09.21</c:v>
                </c:pt>
                <c:pt idx="67">
                  <c:v>21.09.21</c:v>
                </c:pt>
                <c:pt idx="68">
                  <c:v>22.09.21</c:v>
                </c:pt>
                <c:pt idx="69">
                  <c:v>23.09.21</c:v>
                </c:pt>
                <c:pt idx="70">
                  <c:v>24.09.21</c:v>
                </c:pt>
                <c:pt idx="71">
                  <c:v>25.09.21</c:v>
                </c:pt>
                <c:pt idx="72">
                  <c:v>26.09.21</c:v>
                </c:pt>
                <c:pt idx="73">
                  <c:v>27.09.21</c:v>
                </c:pt>
                <c:pt idx="74">
                  <c:v>28.09.21</c:v>
                </c:pt>
                <c:pt idx="75">
                  <c:v>29.09.21</c:v>
                </c:pt>
                <c:pt idx="76">
                  <c:v>30.09.21</c:v>
                </c:pt>
                <c:pt idx="77">
                  <c:v>01.10.21</c:v>
                </c:pt>
                <c:pt idx="78">
                  <c:v>02.10.21</c:v>
                </c:pt>
                <c:pt idx="79">
                  <c:v>03.10.21</c:v>
                </c:pt>
                <c:pt idx="80">
                  <c:v>04.10.21</c:v>
                </c:pt>
                <c:pt idx="81">
                  <c:v>05.10.21</c:v>
                </c:pt>
                <c:pt idx="82">
                  <c:v>06.10.21</c:v>
                </c:pt>
                <c:pt idx="83">
                  <c:v>07.10.21</c:v>
                </c:pt>
                <c:pt idx="84">
                  <c:v>08.10.21</c:v>
                </c:pt>
                <c:pt idx="85">
                  <c:v>09.10.21</c:v>
                </c:pt>
                <c:pt idx="86">
                  <c:v>10.10.21</c:v>
                </c:pt>
                <c:pt idx="87">
                  <c:v>11.10.21</c:v>
                </c:pt>
                <c:pt idx="88">
                  <c:v>12.10.21</c:v>
                </c:pt>
                <c:pt idx="89">
                  <c:v>13.10.21</c:v>
                </c:pt>
                <c:pt idx="90">
                  <c:v>14.10.21</c:v>
                </c:pt>
                <c:pt idx="91">
                  <c:v>15.10.21</c:v>
                </c:pt>
                <c:pt idx="92">
                  <c:v>16.10.21</c:v>
                </c:pt>
                <c:pt idx="93">
                  <c:v>17.10.21</c:v>
                </c:pt>
                <c:pt idx="94">
                  <c:v>18.10.21</c:v>
                </c:pt>
                <c:pt idx="95">
                  <c:v>19.10.21</c:v>
                </c:pt>
                <c:pt idx="96">
                  <c:v>20.10.21</c:v>
                </c:pt>
                <c:pt idx="97">
                  <c:v>21.10.21</c:v>
                </c:pt>
                <c:pt idx="98">
                  <c:v>22.10.21</c:v>
                </c:pt>
                <c:pt idx="99">
                  <c:v>23.10.21</c:v>
                </c:pt>
                <c:pt idx="100">
                  <c:v>24.10.21</c:v>
                </c:pt>
                <c:pt idx="101">
                  <c:v>25.10.21</c:v>
                </c:pt>
                <c:pt idx="102">
                  <c:v>26.10.21</c:v>
                </c:pt>
                <c:pt idx="103">
                  <c:v>27.10.21</c:v>
                </c:pt>
                <c:pt idx="104">
                  <c:v>28.10.21</c:v>
                </c:pt>
                <c:pt idx="105">
                  <c:v>29.10.21</c:v>
                </c:pt>
                <c:pt idx="106">
                  <c:v>30.10.21</c:v>
                </c:pt>
                <c:pt idx="107">
                  <c:v>31.10.21</c:v>
                </c:pt>
                <c:pt idx="108">
                  <c:v>01.11.21</c:v>
                </c:pt>
                <c:pt idx="109">
                  <c:v>02.11.21</c:v>
                </c:pt>
                <c:pt idx="110">
                  <c:v>03.11.21</c:v>
                </c:pt>
                <c:pt idx="111">
                  <c:v>04.11.21</c:v>
                </c:pt>
                <c:pt idx="112">
                  <c:v>05.11.21</c:v>
                </c:pt>
                <c:pt idx="113">
                  <c:v>06.11.21</c:v>
                </c:pt>
                <c:pt idx="114">
                  <c:v>07.11.21</c:v>
                </c:pt>
                <c:pt idx="115">
                  <c:v>08.11.21</c:v>
                </c:pt>
                <c:pt idx="116">
                  <c:v>09.11.21</c:v>
                </c:pt>
                <c:pt idx="117">
                  <c:v>10.11.21</c:v>
                </c:pt>
                <c:pt idx="118">
                  <c:v>11.11.21</c:v>
                </c:pt>
                <c:pt idx="119">
                  <c:v>12.11.21</c:v>
                </c:pt>
                <c:pt idx="120">
                  <c:v>13.11.21</c:v>
                </c:pt>
                <c:pt idx="121">
                  <c:v>14.11.21</c:v>
                </c:pt>
                <c:pt idx="122">
                  <c:v>15.11.21</c:v>
                </c:pt>
                <c:pt idx="123">
                  <c:v>16.11.21</c:v>
                </c:pt>
                <c:pt idx="124">
                  <c:v>17.11.21</c:v>
                </c:pt>
                <c:pt idx="125">
                  <c:v>18.11.21</c:v>
                </c:pt>
                <c:pt idx="126">
                  <c:v>19.11.21</c:v>
                </c:pt>
                <c:pt idx="127">
                  <c:v>20.11.21</c:v>
                </c:pt>
                <c:pt idx="128">
                  <c:v>21.11.21</c:v>
                </c:pt>
                <c:pt idx="129">
                  <c:v>22.11.21</c:v>
                </c:pt>
                <c:pt idx="130">
                  <c:v>23.11.21</c:v>
                </c:pt>
                <c:pt idx="131">
                  <c:v>24.11.21</c:v>
                </c:pt>
                <c:pt idx="132">
                  <c:v>25.11.21</c:v>
                </c:pt>
                <c:pt idx="133">
                  <c:v>26.11.21</c:v>
                </c:pt>
                <c:pt idx="134">
                  <c:v>27.11.21</c:v>
                </c:pt>
                <c:pt idx="135">
                  <c:v>28.11.21</c:v>
                </c:pt>
                <c:pt idx="136">
                  <c:v>29.11.21</c:v>
                </c:pt>
                <c:pt idx="137">
                  <c:v>30.11.21</c:v>
                </c:pt>
                <c:pt idx="138">
                  <c:v>01.12.21</c:v>
                </c:pt>
                <c:pt idx="139">
                  <c:v>02.12.21</c:v>
                </c:pt>
                <c:pt idx="140">
                  <c:v>03.12.21</c:v>
                </c:pt>
                <c:pt idx="141">
                  <c:v>04.12.21</c:v>
                </c:pt>
                <c:pt idx="142">
                  <c:v>05.12.21</c:v>
                </c:pt>
                <c:pt idx="143">
                  <c:v>06.12.21</c:v>
                </c:pt>
                <c:pt idx="144">
                  <c:v>07.12.21</c:v>
                </c:pt>
                <c:pt idx="145">
                  <c:v>08.12.21</c:v>
                </c:pt>
                <c:pt idx="146">
                  <c:v>09.12.21</c:v>
                </c:pt>
                <c:pt idx="147">
                  <c:v>10.12.21</c:v>
                </c:pt>
                <c:pt idx="148">
                  <c:v>11.12.21</c:v>
                </c:pt>
                <c:pt idx="149">
                  <c:v>12.12.21</c:v>
                </c:pt>
                <c:pt idx="150">
                  <c:v>13.12.21</c:v>
                </c:pt>
                <c:pt idx="151">
                  <c:v>14.12.21</c:v>
                </c:pt>
                <c:pt idx="152">
                  <c:v>15.12.21</c:v>
                </c:pt>
                <c:pt idx="153">
                  <c:v>16.12.21</c:v>
                </c:pt>
                <c:pt idx="154">
                  <c:v>17.12.21</c:v>
                </c:pt>
                <c:pt idx="155">
                  <c:v>18.12.21</c:v>
                </c:pt>
                <c:pt idx="156">
                  <c:v>19.12.21</c:v>
                </c:pt>
                <c:pt idx="157">
                  <c:v>20.12.21</c:v>
                </c:pt>
                <c:pt idx="158">
                  <c:v>21.12.21</c:v>
                </c:pt>
                <c:pt idx="159">
                  <c:v>22.12.21</c:v>
                </c:pt>
                <c:pt idx="160">
                  <c:v>23.12.21</c:v>
                </c:pt>
                <c:pt idx="161">
                  <c:v>24.12.21</c:v>
                </c:pt>
                <c:pt idx="162">
                  <c:v>25.12.21</c:v>
                </c:pt>
                <c:pt idx="163">
                  <c:v>26.12.21</c:v>
                </c:pt>
                <c:pt idx="164">
                  <c:v>27.12.21</c:v>
                </c:pt>
                <c:pt idx="165">
                  <c:v>28.12.21</c:v>
                </c:pt>
                <c:pt idx="166">
                  <c:v>29.12.21</c:v>
                </c:pt>
                <c:pt idx="167">
                  <c:v>30.12.21</c:v>
                </c:pt>
                <c:pt idx="168">
                  <c:v>31.12.21</c:v>
                </c:pt>
                <c:pt idx="169">
                  <c:v>01.01.22</c:v>
                </c:pt>
                <c:pt idx="170">
                  <c:v>02.01.22</c:v>
                </c:pt>
                <c:pt idx="171">
                  <c:v>03.01.22</c:v>
                </c:pt>
                <c:pt idx="172">
                  <c:v>04.01.22</c:v>
                </c:pt>
                <c:pt idx="173">
                  <c:v>05.01.22</c:v>
                </c:pt>
                <c:pt idx="174">
                  <c:v>06.01.22</c:v>
                </c:pt>
                <c:pt idx="175">
                  <c:v>07.01.22</c:v>
                </c:pt>
                <c:pt idx="176">
                  <c:v>08.01.22</c:v>
                </c:pt>
                <c:pt idx="177">
                  <c:v>09.01.22</c:v>
                </c:pt>
                <c:pt idx="178">
                  <c:v>10.01.22</c:v>
                </c:pt>
                <c:pt idx="179">
                  <c:v>11.01.22</c:v>
                </c:pt>
                <c:pt idx="180">
                  <c:v>12.01.22</c:v>
                </c:pt>
                <c:pt idx="181">
                  <c:v>13.01.22</c:v>
                </c:pt>
                <c:pt idx="182">
                  <c:v>14.01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14</c:v>
                </c:pt>
                <c:pt idx="1">
                  <c:v>16</c:v>
                </c:pt>
                <c:pt idx="2">
                  <c:v>16</c:v>
                </c:pt>
                <c:pt idx="3">
                  <c:v>18</c:v>
                </c:pt>
                <c:pt idx="4">
                  <c:v>20</c:v>
                </c:pt>
                <c:pt idx="5">
                  <c:v>22</c:v>
                </c:pt>
                <c:pt idx="6">
                  <c:v>25</c:v>
                </c:pt>
                <c:pt idx="7">
                  <c:v>24</c:v>
                </c:pt>
                <c:pt idx="8">
                  <c:v>24</c:v>
                </c:pt>
                <c:pt idx="9">
                  <c:v>25</c:v>
                </c:pt>
                <c:pt idx="10">
                  <c:v>25</c:v>
                </c:pt>
                <c:pt idx="11">
                  <c:v>26</c:v>
                </c:pt>
                <c:pt idx="12">
                  <c:v>27</c:v>
                </c:pt>
                <c:pt idx="13">
                  <c:v>28</c:v>
                </c:pt>
                <c:pt idx="14">
                  <c:v>26</c:v>
                </c:pt>
                <c:pt idx="15">
                  <c:v>25</c:v>
                </c:pt>
                <c:pt idx="16">
                  <c:v>24</c:v>
                </c:pt>
                <c:pt idx="17">
                  <c:v>22</c:v>
                </c:pt>
                <c:pt idx="18">
                  <c:v>20</c:v>
                </c:pt>
                <c:pt idx="19">
                  <c:v>23</c:v>
                </c:pt>
                <c:pt idx="20">
                  <c:v>21</c:v>
                </c:pt>
                <c:pt idx="21">
                  <c:v>23</c:v>
                </c:pt>
                <c:pt idx="22">
                  <c:v>20</c:v>
                </c:pt>
                <c:pt idx="23">
                  <c:v>22</c:v>
                </c:pt>
                <c:pt idx="24">
                  <c:v>22</c:v>
                </c:pt>
                <c:pt idx="25">
                  <c:v>22</c:v>
                </c:pt>
                <c:pt idx="26">
                  <c:v>22</c:v>
                </c:pt>
                <c:pt idx="27">
                  <c:v>23</c:v>
                </c:pt>
                <c:pt idx="28">
                  <c:v>23</c:v>
                </c:pt>
                <c:pt idx="29">
                  <c:v>23</c:v>
                </c:pt>
                <c:pt idx="30">
                  <c:v>23</c:v>
                </c:pt>
                <c:pt idx="31">
                  <c:v>26</c:v>
                </c:pt>
                <c:pt idx="32">
                  <c:v>23</c:v>
                </c:pt>
                <c:pt idx="33">
                  <c:v>20</c:v>
                </c:pt>
                <c:pt idx="34">
                  <c:v>20</c:v>
                </c:pt>
                <c:pt idx="35">
                  <c:v>19</c:v>
                </c:pt>
                <c:pt idx="36">
                  <c:v>18</c:v>
                </c:pt>
                <c:pt idx="37">
                  <c:v>16</c:v>
                </c:pt>
                <c:pt idx="38">
                  <c:v>17</c:v>
                </c:pt>
                <c:pt idx="39">
                  <c:v>16</c:v>
                </c:pt>
                <c:pt idx="40">
                  <c:v>14</c:v>
                </c:pt>
                <c:pt idx="41">
                  <c:v>15</c:v>
                </c:pt>
                <c:pt idx="42">
                  <c:v>15</c:v>
                </c:pt>
                <c:pt idx="43">
                  <c:v>16</c:v>
                </c:pt>
                <c:pt idx="44">
                  <c:v>15</c:v>
                </c:pt>
                <c:pt idx="45">
                  <c:v>13</c:v>
                </c:pt>
                <c:pt idx="46">
                  <c:v>17</c:v>
                </c:pt>
                <c:pt idx="47">
                  <c:v>20</c:v>
                </c:pt>
                <c:pt idx="48">
                  <c:v>21</c:v>
                </c:pt>
                <c:pt idx="49">
                  <c:v>21</c:v>
                </c:pt>
                <c:pt idx="50">
                  <c:v>24</c:v>
                </c:pt>
                <c:pt idx="51">
                  <c:v>25</c:v>
                </c:pt>
                <c:pt idx="52">
                  <c:v>23</c:v>
                </c:pt>
                <c:pt idx="53">
                  <c:v>24</c:v>
                </c:pt>
                <c:pt idx="54">
                  <c:v>23</c:v>
                </c:pt>
                <c:pt idx="55">
                  <c:v>23</c:v>
                </c:pt>
                <c:pt idx="56">
                  <c:v>24</c:v>
                </c:pt>
                <c:pt idx="57">
                  <c:v>27</c:v>
                </c:pt>
                <c:pt idx="58">
                  <c:v>26</c:v>
                </c:pt>
                <c:pt idx="59">
                  <c:v>28</c:v>
                </c:pt>
                <c:pt idx="60">
                  <c:v>27</c:v>
                </c:pt>
                <c:pt idx="61">
                  <c:v>24</c:v>
                </c:pt>
                <c:pt idx="62">
                  <c:v>25</c:v>
                </c:pt>
                <c:pt idx="63">
                  <c:v>25</c:v>
                </c:pt>
                <c:pt idx="64">
                  <c:v>24</c:v>
                </c:pt>
                <c:pt idx="65">
                  <c:v>24</c:v>
                </c:pt>
                <c:pt idx="66">
                  <c:v>22</c:v>
                </c:pt>
                <c:pt idx="67">
                  <c:v>25</c:v>
                </c:pt>
                <c:pt idx="68">
                  <c:v>28</c:v>
                </c:pt>
                <c:pt idx="69">
                  <c:v>28</c:v>
                </c:pt>
                <c:pt idx="70">
                  <c:v>29</c:v>
                </c:pt>
                <c:pt idx="71">
                  <c:v>27</c:v>
                </c:pt>
                <c:pt idx="72">
                  <c:v>27</c:v>
                </c:pt>
                <c:pt idx="73">
                  <c:v>29</c:v>
                </c:pt>
                <c:pt idx="74">
                  <c:v>33</c:v>
                </c:pt>
                <c:pt idx="75">
                  <c:v>36</c:v>
                </c:pt>
                <c:pt idx="76">
                  <c:v>44</c:v>
                </c:pt>
                <c:pt idx="77">
                  <c:v>45</c:v>
                </c:pt>
                <c:pt idx="78">
                  <c:v>49</c:v>
                </c:pt>
                <c:pt idx="79">
                  <c:v>49</c:v>
                </c:pt>
                <c:pt idx="80">
                  <c:v>48</c:v>
                </c:pt>
                <c:pt idx="81">
                  <c:v>47</c:v>
                </c:pt>
                <c:pt idx="82">
                  <c:v>48</c:v>
                </c:pt>
                <c:pt idx="83">
                  <c:v>53</c:v>
                </c:pt>
                <c:pt idx="84">
                  <c:v>56</c:v>
                </c:pt>
                <c:pt idx="85">
                  <c:v>57</c:v>
                </c:pt>
                <c:pt idx="86">
                  <c:v>56</c:v>
                </c:pt>
                <c:pt idx="87">
                  <c:v>50</c:v>
                </c:pt>
                <c:pt idx="88">
                  <c:v>59</c:v>
                </c:pt>
                <c:pt idx="89">
                  <c:v>56</c:v>
                </c:pt>
                <c:pt idx="90">
                  <c:v>59</c:v>
                </c:pt>
                <c:pt idx="91">
                  <c:v>62</c:v>
                </c:pt>
                <c:pt idx="92">
                  <c:v>65</c:v>
                </c:pt>
                <c:pt idx="93">
                  <c:v>71</c:v>
                </c:pt>
                <c:pt idx="94">
                  <c:v>88</c:v>
                </c:pt>
                <c:pt idx="95">
                  <c:v>101</c:v>
                </c:pt>
                <c:pt idx="96">
                  <c:v>109</c:v>
                </c:pt>
                <c:pt idx="97">
                  <c:v>116</c:v>
                </c:pt>
                <c:pt idx="98">
                  <c:v>127</c:v>
                </c:pt>
                <c:pt idx="99">
                  <c:v>140</c:v>
                </c:pt>
                <c:pt idx="100">
                  <c:v>150</c:v>
                </c:pt>
                <c:pt idx="101">
                  <c:v>175</c:v>
                </c:pt>
                <c:pt idx="102">
                  <c:v>182</c:v>
                </c:pt>
                <c:pt idx="103">
                  <c:v>201</c:v>
                </c:pt>
                <c:pt idx="104">
                  <c:v>215</c:v>
                </c:pt>
                <c:pt idx="105">
                  <c:v>245</c:v>
                </c:pt>
                <c:pt idx="106">
                  <c:v>261</c:v>
                </c:pt>
                <c:pt idx="107">
                  <c:v>267</c:v>
                </c:pt>
                <c:pt idx="108">
                  <c:v>306</c:v>
                </c:pt>
                <c:pt idx="109">
                  <c:v>328</c:v>
                </c:pt>
                <c:pt idx="110">
                  <c:v>351</c:v>
                </c:pt>
                <c:pt idx="111">
                  <c:v>365</c:v>
                </c:pt>
                <c:pt idx="112">
                  <c:v>383</c:v>
                </c:pt>
                <c:pt idx="113">
                  <c:v>391</c:v>
                </c:pt>
                <c:pt idx="114">
                  <c:v>399</c:v>
                </c:pt>
                <c:pt idx="115">
                  <c:v>420</c:v>
                </c:pt>
                <c:pt idx="116">
                  <c:v>450</c:v>
                </c:pt>
                <c:pt idx="117">
                  <c:v>467</c:v>
                </c:pt>
                <c:pt idx="118">
                  <c:v>500</c:v>
                </c:pt>
                <c:pt idx="119">
                  <c:v>499</c:v>
                </c:pt>
                <c:pt idx="120">
                  <c:v>534</c:v>
                </c:pt>
                <c:pt idx="121">
                  <c:v>539</c:v>
                </c:pt>
                <c:pt idx="122">
                  <c:v>538</c:v>
                </c:pt>
                <c:pt idx="123">
                  <c:v>564</c:v>
                </c:pt>
                <c:pt idx="124">
                  <c:v>570</c:v>
                </c:pt>
                <c:pt idx="125">
                  <c:v>595</c:v>
                </c:pt>
                <c:pt idx="126">
                  <c:v>637</c:v>
                </c:pt>
                <c:pt idx="127">
                  <c:v>665</c:v>
                </c:pt>
                <c:pt idx="128">
                  <c:v>669</c:v>
                </c:pt>
                <c:pt idx="129">
                  <c:v>665</c:v>
                </c:pt>
                <c:pt idx="130">
                  <c:v>703</c:v>
                </c:pt>
                <c:pt idx="131">
                  <c:v>691</c:v>
                </c:pt>
                <c:pt idx="132">
                  <c:v>707</c:v>
                </c:pt>
                <c:pt idx="133">
                  <c:v>699</c:v>
                </c:pt>
                <c:pt idx="134">
                  <c:v>704</c:v>
                </c:pt>
                <c:pt idx="135">
                  <c:v>719</c:v>
                </c:pt>
                <c:pt idx="136">
                  <c:v>709</c:v>
                </c:pt>
                <c:pt idx="137">
                  <c:v>702</c:v>
                </c:pt>
                <c:pt idx="138">
                  <c:v>717</c:v>
                </c:pt>
                <c:pt idx="139">
                  <c:v>688</c:v>
                </c:pt>
                <c:pt idx="140">
                  <c:v>661</c:v>
                </c:pt>
                <c:pt idx="141">
                  <c:v>655</c:v>
                </c:pt>
                <c:pt idx="142">
                  <c:v>637</c:v>
                </c:pt>
                <c:pt idx="143">
                  <c:v>596</c:v>
                </c:pt>
                <c:pt idx="144">
                  <c:v>576</c:v>
                </c:pt>
                <c:pt idx="145">
                  <c:v>564</c:v>
                </c:pt>
                <c:pt idx="146">
                  <c:v>536</c:v>
                </c:pt>
                <c:pt idx="147">
                  <c:v>515</c:v>
                </c:pt>
                <c:pt idx="148">
                  <c:v>504</c:v>
                </c:pt>
                <c:pt idx="149">
                  <c:v>483</c:v>
                </c:pt>
                <c:pt idx="150">
                  <c:v>452</c:v>
                </c:pt>
                <c:pt idx="151">
                  <c:v>430</c:v>
                </c:pt>
                <c:pt idx="152">
                  <c:v>407</c:v>
                </c:pt>
                <c:pt idx="153">
                  <c:v>379</c:v>
                </c:pt>
                <c:pt idx="154">
                  <c:v>356</c:v>
                </c:pt>
                <c:pt idx="155">
                  <c:v>353</c:v>
                </c:pt>
                <c:pt idx="156">
                  <c:v>351</c:v>
                </c:pt>
                <c:pt idx="157">
                  <c:v>325</c:v>
                </c:pt>
                <c:pt idx="158">
                  <c:v>324</c:v>
                </c:pt>
                <c:pt idx="159">
                  <c:v>310</c:v>
                </c:pt>
                <c:pt idx="160">
                  <c:v>300</c:v>
                </c:pt>
                <c:pt idx="161">
                  <c:v>272</c:v>
                </c:pt>
                <c:pt idx="162">
                  <c:v>269</c:v>
                </c:pt>
                <c:pt idx="163">
                  <c:v>265</c:v>
                </c:pt>
                <c:pt idx="164">
                  <c:v>254</c:v>
                </c:pt>
                <c:pt idx="165">
                  <c:v>260</c:v>
                </c:pt>
                <c:pt idx="166">
                  <c:v>264</c:v>
                </c:pt>
                <c:pt idx="167">
                  <c:v>265</c:v>
                </c:pt>
                <c:pt idx="168">
                  <c:v>260</c:v>
                </c:pt>
                <c:pt idx="169">
                  <c:v>251</c:v>
                </c:pt>
                <c:pt idx="170">
                  <c:v>259</c:v>
                </c:pt>
                <c:pt idx="171">
                  <c:v>257</c:v>
                </c:pt>
                <c:pt idx="172">
                  <c:v>262</c:v>
                </c:pt>
                <c:pt idx="173">
                  <c:v>263</c:v>
                </c:pt>
                <c:pt idx="174">
                  <c:v>272</c:v>
                </c:pt>
                <c:pt idx="175">
                  <c:v>285</c:v>
                </c:pt>
                <c:pt idx="176">
                  <c:v>289</c:v>
                </c:pt>
                <c:pt idx="177">
                  <c:v>295</c:v>
                </c:pt>
                <c:pt idx="178">
                  <c:v>293</c:v>
                </c:pt>
                <c:pt idx="179">
                  <c:v>339</c:v>
                </c:pt>
                <c:pt idx="182">
                  <c:v>4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CD-4BA3-857E-B86804E5EE0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1.7754105636927238E-3"/>
                  <c:y val="9.1782611050075675E-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97070572569906"/>
                      <c:h val="4.732494990964000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GB$1</c:f>
              <c:strCache>
                <c:ptCount val="183"/>
                <c:pt idx="0">
                  <c:v>16.07.21</c:v>
                </c:pt>
                <c:pt idx="1">
                  <c:v>17.07.21</c:v>
                </c:pt>
                <c:pt idx="2">
                  <c:v>18.07.21</c:v>
                </c:pt>
                <c:pt idx="3">
                  <c:v>19.07.21</c:v>
                </c:pt>
                <c:pt idx="4">
                  <c:v>20.07.21</c:v>
                </c:pt>
                <c:pt idx="5">
                  <c:v>21.07.21</c:v>
                </c:pt>
                <c:pt idx="6">
                  <c:v>22.07.21</c:v>
                </c:pt>
                <c:pt idx="7">
                  <c:v>23.07.21</c:v>
                </c:pt>
                <c:pt idx="8">
                  <c:v>24.07.21</c:v>
                </c:pt>
                <c:pt idx="9">
                  <c:v>25.07.21</c:v>
                </c:pt>
                <c:pt idx="10">
                  <c:v>26.07.21</c:v>
                </c:pt>
                <c:pt idx="11">
                  <c:v>27.07.21</c:v>
                </c:pt>
                <c:pt idx="12">
                  <c:v>28.07.21</c:v>
                </c:pt>
                <c:pt idx="13">
                  <c:v>29.07.21</c:v>
                </c:pt>
                <c:pt idx="14">
                  <c:v>30.07.21</c:v>
                </c:pt>
                <c:pt idx="15">
                  <c:v>31.07.21</c:v>
                </c:pt>
                <c:pt idx="16">
                  <c:v>01.08.21</c:v>
                </c:pt>
                <c:pt idx="17">
                  <c:v>02.08.21</c:v>
                </c:pt>
                <c:pt idx="18">
                  <c:v>03.08.21</c:v>
                </c:pt>
                <c:pt idx="19">
                  <c:v>04.08.21</c:v>
                </c:pt>
                <c:pt idx="20">
                  <c:v>05.08.21</c:v>
                </c:pt>
                <c:pt idx="21">
                  <c:v>06.08.21</c:v>
                </c:pt>
                <c:pt idx="22">
                  <c:v>07.08.21</c:v>
                </c:pt>
                <c:pt idx="23">
                  <c:v>08.08.21</c:v>
                </c:pt>
                <c:pt idx="24">
                  <c:v>09.08.21</c:v>
                </c:pt>
                <c:pt idx="25">
                  <c:v>10.08.21</c:v>
                </c:pt>
                <c:pt idx="26">
                  <c:v>11.08.21</c:v>
                </c:pt>
                <c:pt idx="27">
                  <c:v>12.08.21</c:v>
                </c:pt>
                <c:pt idx="28">
                  <c:v>13.08.21</c:v>
                </c:pt>
                <c:pt idx="29">
                  <c:v>14.08.21</c:v>
                </c:pt>
                <c:pt idx="30">
                  <c:v>15.08.21</c:v>
                </c:pt>
                <c:pt idx="31">
                  <c:v>16.08.21</c:v>
                </c:pt>
                <c:pt idx="32">
                  <c:v>17.08.21</c:v>
                </c:pt>
                <c:pt idx="33">
                  <c:v>18.08.21</c:v>
                </c:pt>
                <c:pt idx="34">
                  <c:v>19.08.21</c:v>
                </c:pt>
                <c:pt idx="35">
                  <c:v>20.08.21</c:v>
                </c:pt>
                <c:pt idx="36">
                  <c:v>21.08.21</c:v>
                </c:pt>
                <c:pt idx="37">
                  <c:v>22.08.21</c:v>
                </c:pt>
                <c:pt idx="38">
                  <c:v>23.08.21</c:v>
                </c:pt>
                <c:pt idx="39">
                  <c:v>24.08.21</c:v>
                </c:pt>
                <c:pt idx="40">
                  <c:v>25.08.21</c:v>
                </c:pt>
                <c:pt idx="41">
                  <c:v>26.08.21</c:v>
                </c:pt>
                <c:pt idx="42">
                  <c:v>27.08.21</c:v>
                </c:pt>
                <c:pt idx="43">
                  <c:v>28.08.21</c:v>
                </c:pt>
                <c:pt idx="44">
                  <c:v>29.08.21</c:v>
                </c:pt>
                <c:pt idx="45">
                  <c:v>30.08.21</c:v>
                </c:pt>
                <c:pt idx="46">
                  <c:v>31.08.21</c:v>
                </c:pt>
                <c:pt idx="47">
                  <c:v>01.09.21</c:v>
                </c:pt>
                <c:pt idx="48">
                  <c:v>02.09.21</c:v>
                </c:pt>
                <c:pt idx="49">
                  <c:v>03.09.21</c:v>
                </c:pt>
                <c:pt idx="50">
                  <c:v>04.09.21</c:v>
                </c:pt>
                <c:pt idx="51">
                  <c:v>05.09.21</c:v>
                </c:pt>
                <c:pt idx="52">
                  <c:v>06.09.21</c:v>
                </c:pt>
                <c:pt idx="53">
                  <c:v>07.09.21</c:v>
                </c:pt>
                <c:pt idx="54">
                  <c:v>08.09.21</c:v>
                </c:pt>
                <c:pt idx="55">
                  <c:v>09.09.21</c:v>
                </c:pt>
                <c:pt idx="56">
                  <c:v>10.09.21</c:v>
                </c:pt>
                <c:pt idx="57">
                  <c:v>11.09.21</c:v>
                </c:pt>
                <c:pt idx="58">
                  <c:v>12.09.21</c:v>
                </c:pt>
                <c:pt idx="59">
                  <c:v>13.09.21</c:v>
                </c:pt>
                <c:pt idx="60">
                  <c:v>14.09.21</c:v>
                </c:pt>
                <c:pt idx="61">
                  <c:v>15.09.21</c:v>
                </c:pt>
                <c:pt idx="62">
                  <c:v>16.09.21</c:v>
                </c:pt>
                <c:pt idx="63">
                  <c:v>17.09.21</c:v>
                </c:pt>
                <c:pt idx="64">
                  <c:v>18.09.21</c:v>
                </c:pt>
                <c:pt idx="65">
                  <c:v>19.09.21</c:v>
                </c:pt>
                <c:pt idx="66">
                  <c:v>20.09.21</c:v>
                </c:pt>
                <c:pt idx="67">
                  <c:v>21.09.21</c:v>
                </c:pt>
                <c:pt idx="68">
                  <c:v>22.09.21</c:v>
                </c:pt>
                <c:pt idx="69">
                  <c:v>23.09.21</c:v>
                </c:pt>
                <c:pt idx="70">
                  <c:v>24.09.21</c:v>
                </c:pt>
                <c:pt idx="71">
                  <c:v>25.09.21</c:v>
                </c:pt>
                <c:pt idx="72">
                  <c:v>26.09.21</c:v>
                </c:pt>
                <c:pt idx="73">
                  <c:v>27.09.21</c:v>
                </c:pt>
                <c:pt idx="74">
                  <c:v>28.09.21</c:v>
                </c:pt>
                <c:pt idx="75">
                  <c:v>29.09.21</c:v>
                </c:pt>
                <c:pt idx="76">
                  <c:v>30.09.21</c:v>
                </c:pt>
                <c:pt idx="77">
                  <c:v>01.10.21</c:v>
                </c:pt>
                <c:pt idx="78">
                  <c:v>02.10.21</c:v>
                </c:pt>
                <c:pt idx="79">
                  <c:v>03.10.21</c:v>
                </c:pt>
                <c:pt idx="80">
                  <c:v>04.10.21</c:v>
                </c:pt>
                <c:pt idx="81">
                  <c:v>05.10.21</c:v>
                </c:pt>
                <c:pt idx="82">
                  <c:v>06.10.21</c:v>
                </c:pt>
                <c:pt idx="83">
                  <c:v>07.10.21</c:v>
                </c:pt>
                <c:pt idx="84">
                  <c:v>08.10.21</c:v>
                </c:pt>
                <c:pt idx="85">
                  <c:v>09.10.21</c:v>
                </c:pt>
                <c:pt idx="86">
                  <c:v>10.10.21</c:v>
                </c:pt>
                <c:pt idx="87">
                  <c:v>11.10.21</c:v>
                </c:pt>
                <c:pt idx="88">
                  <c:v>12.10.21</c:v>
                </c:pt>
                <c:pt idx="89">
                  <c:v>13.10.21</c:v>
                </c:pt>
                <c:pt idx="90">
                  <c:v>14.10.21</c:v>
                </c:pt>
                <c:pt idx="91">
                  <c:v>15.10.21</c:v>
                </c:pt>
                <c:pt idx="92">
                  <c:v>16.10.21</c:v>
                </c:pt>
                <c:pt idx="93">
                  <c:v>17.10.21</c:v>
                </c:pt>
                <c:pt idx="94">
                  <c:v>18.10.21</c:v>
                </c:pt>
                <c:pt idx="95">
                  <c:v>19.10.21</c:v>
                </c:pt>
                <c:pt idx="96">
                  <c:v>20.10.21</c:v>
                </c:pt>
                <c:pt idx="97">
                  <c:v>21.10.21</c:v>
                </c:pt>
                <c:pt idx="98">
                  <c:v>22.10.21</c:v>
                </c:pt>
                <c:pt idx="99">
                  <c:v>23.10.21</c:v>
                </c:pt>
                <c:pt idx="100">
                  <c:v>24.10.21</c:v>
                </c:pt>
                <c:pt idx="101">
                  <c:v>25.10.21</c:v>
                </c:pt>
                <c:pt idx="102">
                  <c:v>26.10.21</c:v>
                </c:pt>
                <c:pt idx="103">
                  <c:v>27.10.21</c:v>
                </c:pt>
                <c:pt idx="104">
                  <c:v>28.10.21</c:v>
                </c:pt>
                <c:pt idx="105">
                  <c:v>29.10.21</c:v>
                </c:pt>
                <c:pt idx="106">
                  <c:v>30.10.21</c:v>
                </c:pt>
                <c:pt idx="107">
                  <c:v>31.10.21</c:v>
                </c:pt>
                <c:pt idx="108">
                  <c:v>01.11.21</c:v>
                </c:pt>
                <c:pt idx="109">
                  <c:v>02.11.21</c:v>
                </c:pt>
                <c:pt idx="110">
                  <c:v>03.11.21</c:v>
                </c:pt>
                <c:pt idx="111">
                  <c:v>04.11.21</c:v>
                </c:pt>
                <c:pt idx="112">
                  <c:v>05.11.21</c:v>
                </c:pt>
                <c:pt idx="113">
                  <c:v>06.11.21</c:v>
                </c:pt>
                <c:pt idx="114">
                  <c:v>07.11.21</c:v>
                </c:pt>
                <c:pt idx="115">
                  <c:v>08.11.21</c:v>
                </c:pt>
                <c:pt idx="116">
                  <c:v>09.11.21</c:v>
                </c:pt>
                <c:pt idx="117">
                  <c:v>10.11.21</c:v>
                </c:pt>
                <c:pt idx="118">
                  <c:v>11.11.21</c:v>
                </c:pt>
                <c:pt idx="119">
                  <c:v>12.11.21</c:v>
                </c:pt>
                <c:pt idx="120">
                  <c:v>13.11.21</c:v>
                </c:pt>
                <c:pt idx="121">
                  <c:v>14.11.21</c:v>
                </c:pt>
                <c:pt idx="122">
                  <c:v>15.11.21</c:v>
                </c:pt>
                <c:pt idx="123">
                  <c:v>16.11.21</c:v>
                </c:pt>
                <c:pt idx="124">
                  <c:v>17.11.21</c:v>
                </c:pt>
                <c:pt idx="125">
                  <c:v>18.11.21</c:v>
                </c:pt>
                <c:pt idx="126">
                  <c:v>19.11.21</c:v>
                </c:pt>
                <c:pt idx="127">
                  <c:v>20.11.21</c:v>
                </c:pt>
                <c:pt idx="128">
                  <c:v>21.11.21</c:v>
                </c:pt>
                <c:pt idx="129">
                  <c:v>22.11.21</c:v>
                </c:pt>
                <c:pt idx="130">
                  <c:v>23.11.21</c:v>
                </c:pt>
                <c:pt idx="131">
                  <c:v>24.11.21</c:v>
                </c:pt>
                <c:pt idx="132">
                  <c:v>25.11.21</c:v>
                </c:pt>
                <c:pt idx="133">
                  <c:v>26.11.21</c:v>
                </c:pt>
                <c:pt idx="134">
                  <c:v>27.11.21</c:v>
                </c:pt>
                <c:pt idx="135">
                  <c:v>28.11.21</c:v>
                </c:pt>
                <c:pt idx="136">
                  <c:v>29.11.21</c:v>
                </c:pt>
                <c:pt idx="137">
                  <c:v>30.11.21</c:v>
                </c:pt>
                <c:pt idx="138">
                  <c:v>01.12.21</c:v>
                </c:pt>
                <c:pt idx="139">
                  <c:v>02.12.21</c:v>
                </c:pt>
                <c:pt idx="140">
                  <c:v>03.12.21</c:v>
                </c:pt>
                <c:pt idx="141">
                  <c:v>04.12.21</c:v>
                </c:pt>
                <c:pt idx="142">
                  <c:v>05.12.21</c:v>
                </c:pt>
                <c:pt idx="143">
                  <c:v>06.12.21</c:v>
                </c:pt>
                <c:pt idx="144">
                  <c:v>07.12.21</c:v>
                </c:pt>
                <c:pt idx="145">
                  <c:v>08.12.21</c:v>
                </c:pt>
                <c:pt idx="146">
                  <c:v>09.12.21</c:v>
                </c:pt>
                <c:pt idx="147">
                  <c:v>10.12.21</c:v>
                </c:pt>
                <c:pt idx="148">
                  <c:v>11.12.21</c:v>
                </c:pt>
                <c:pt idx="149">
                  <c:v>12.12.21</c:v>
                </c:pt>
                <c:pt idx="150">
                  <c:v>13.12.21</c:v>
                </c:pt>
                <c:pt idx="151">
                  <c:v>14.12.21</c:v>
                </c:pt>
                <c:pt idx="152">
                  <c:v>15.12.21</c:v>
                </c:pt>
                <c:pt idx="153">
                  <c:v>16.12.21</c:v>
                </c:pt>
                <c:pt idx="154">
                  <c:v>17.12.21</c:v>
                </c:pt>
                <c:pt idx="155">
                  <c:v>18.12.21</c:v>
                </c:pt>
                <c:pt idx="156">
                  <c:v>19.12.21</c:v>
                </c:pt>
                <c:pt idx="157">
                  <c:v>20.12.21</c:v>
                </c:pt>
                <c:pt idx="158">
                  <c:v>21.12.21</c:v>
                </c:pt>
                <c:pt idx="159">
                  <c:v>22.12.21</c:v>
                </c:pt>
                <c:pt idx="160">
                  <c:v>23.12.21</c:v>
                </c:pt>
                <c:pt idx="161">
                  <c:v>24.12.21</c:v>
                </c:pt>
                <c:pt idx="162">
                  <c:v>25.12.21</c:v>
                </c:pt>
                <c:pt idx="163">
                  <c:v>26.12.21</c:v>
                </c:pt>
                <c:pt idx="164">
                  <c:v>27.12.21</c:v>
                </c:pt>
                <c:pt idx="165">
                  <c:v>28.12.21</c:v>
                </c:pt>
                <c:pt idx="166">
                  <c:v>29.12.21</c:v>
                </c:pt>
                <c:pt idx="167">
                  <c:v>30.12.21</c:v>
                </c:pt>
                <c:pt idx="168">
                  <c:v>31.12.21</c:v>
                </c:pt>
                <c:pt idx="169">
                  <c:v>01.01.22</c:v>
                </c:pt>
                <c:pt idx="170">
                  <c:v>02.01.22</c:v>
                </c:pt>
                <c:pt idx="171">
                  <c:v>03.01.22</c:v>
                </c:pt>
                <c:pt idx="172">
                  <c:v>04.01.22</c:v>
                </c:pt>
                <c:pt idx="173">
                  <c:v>05.01.22</c:v>
                </c:pt>
                <c:pt idx="174">
                  <c:v>06.01.22</c:v>
                </c:pt>
                <c:pt idx="175">
                  <c:v>07.01.22</c:v>
                </c:pt>
                <c:pt idx="176">
                  <c:v>08.01.22</c:v>
                </c:pt>
                <c:pt idx="177">
                  <c:v>09.01.22</c:v>
                </c:pt>
                <c:pt idx="178">
                  <c:v>10.01.22</c:v>
                </c:pt>
                <c:pt idx="179">
                  <c:v>11.01.22</c:v>
                </c:pt>
                <c:pt idx="180">
                  <c:v>12.01.22</c:v>
                </c:pt>
                <c:pt idx="181">
                  <c:v>13.01.22</c:v>
                </c:pt>
                <c:pt idx="182">
                  <c:v>14.01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40</c:v>
                </c:pt>
                <c:pt idx="1">
                  <c:v>39</c:v>
                </c:pt>
                <c:pt idx="2">
                  <c:v>39</c:v>
                </c:pt>
                <c:pt idx="3">
                  <c:v>41</c:v>
                </c:pt>
                <c:pt idx="4">
                  <c:v>41</c:v>
                </c:pt>
                <c:pt idx="5">
                  <c:v>44</c:v>
                </c:pt>
                <c:pt idx="6">
                  <c:v>44</c:v>
                </c:pt>
                <c:pt idx="7">
                  <c:v>47</c:v>
                </c:pt>
                <c:pt idx="8">
                  <c:v>48</c:v>
                </c:pt>
                <c:pt idx="9">
                  <c:v>49</c:v>
                </c:pt>
                <c:pt idx="10">
                  <c:v>48</c:v>
                </c:pt>
                <c:pt idx="11">
                  <c:v>46</c:v>
                </c:pt>
                <c:pt idx="12">
                  <c:v>45</c:v>
                </c:pt>
                <c:pt idx="13">
                  <c:v>44</c:v>
                </c:pt>
                <c:pt idx="14">
                  <c:v>45</c:v>
                </c:pt>
                <c:pt idx="15">
                  <c:v>45</c:v>
                </c:pt>
                <c:pt idx="16">
                  <c:v>45</c:v>
                </c:pt>
                <c:pt idx="17">
                  <c:v>41</c:v>
                </c:pt>
                <c:pt idx="18">
                  <c:v>43</c:v>
                </c:pt>
                <c:pt idx="19">
                  <c:v>41</c:v>
                </c:pt>
                <c:pt idx="20">
                  <c:v>40</c:v>
                </c:pt>
                <c:pt idx="21">
                  <c:v>37</c:v>
                </c:pt>
                <c:pt idx="22">
                  <c:v>36</c:v>
                </c:pt>
                <c:pt idx="23">
                  <c:v>33</c:v>
                </c:pt>
                <c:pt idx="24">
                  <c:v>35</c:v>
                </c:pt>
                <c:pt idx="25">
                  <c:v>37</c:v>
                </c:pt>
                <c:pt idx="26">
                  <c:v>39</c:v>
                </c:pt>
                <c:pt idx="27">
                  <c:v>39</c:v>
                </c:pt>
                <c:pt idx="28">
                  <c:v>41</c:v>
                </c:pt>
                <c:pt idx="29">
                  <c:v>42</c:v>
                </c:pt>
                <c:pt idx="30">
                  <c:v>43</c:v>
                </c:pt>
                <c:pt idx="31">
                  <c:v>45</c:v>
                </c:pt>
                <c:pt idx="32">
                  <c:v>47</c:v>
                </c:pt>
                <c:pt idx="33">
                  <c:v>48</c:v>
                </c:pt>
                <c:pt idx="34">
                  <c:v>48</c:v>
                </c:pt>
                <c:pt idx="35">
                  <c:v>48</c:v>
                </c:pt>
                <c:pt idx="36">
                  <c:v>48</c:v>
                </c:pt>
                <c:pt idx="37">
                  <c:v>48</c:v>
                </c:pt>
                <c:pt idx="38">
                  <c:v>50</c:v>
                </c:pt>
                <c:pt idx="39">
                  <c:v>51</c:v>
                </c:pt>
                <c:pt idx="40">
                  <c:v>48</c:v>
                </c:pt>
                <c:pt idx="41">
                  <c:v>49</c:v>
                </c:pt>
                <c:pt idx="42">
                  <c:v>48</c:v>
                </c:pt>
                <c:pt idx="43">
                  <c:v>48</c:v>
                </c:pt>
                <c:pt idx="44">
                  <c:v>47</c:v>
                </c:pt>
                <c:pt idx="45">
                  <c:v>42</c:v>
                </c:pt>
                <c:pt idx="46">
                  <c:v>43</c:v>
                </c:pt>
                <c:pt idx="47">
                  <c:v>41</c:v>
                </c:pt>
                <c:pt idx="48">
                  <c:v>46</c:v>
                </c:pt>
                <c:pt idx="49">
                  <c:v>52</c:v>
                </c:pt>
                <c:pt idx="50">
                  <c:v>53</c:v>
                </c:pt>
                <c:pt idx="51">
                  <c:v>51</c:v>
                </c:pt>
                <c:pt idx="52">
                  <c:v>49</c:v>
                </c:pt>
                <c:pt idx="53">
                  <c:v>55</c:v>
                </c:pt>
                <c:pt idx="54">
                  <c:v>55</c:v>
                </c:pt>
                <c:pt idx="55">
                  <c:v>57</c:v>
                </c:pt>
                <c:pt idx="56">
                  <c:v>57</c:v>
                </c:pt>
                <c:pt idx="57">
                  <c:v>56</c:v>
                </c:pt>
                <c:pt idx="58">
                  <c:v>57</c:v>
                </c:pt>
                <c:pt idx="59">
                  <c:v>58</c:v>
                </c:pt>
                <c:pt idx="60">
                  <c:v>61</c:v>
                </c:pt>
                <c:pt idx="61">
                  <c:v>63</c:v>
                </c:pt>
                <c:pt idx="62">
                  <c:v>65</c:v>
                </c:pt>
                <c:pt idx="63">
                  <c:v>64</c:v>
                </c:pt>
                <c:pt idx="64">
                  <c:v>66</c:v>
                </c:pt>
                <c:pt idx="65">
                  <c:v>67</c:v>
                </c:pt>
                <c:pt idx="66">
                  <c:v>73</c:v>
                </c:pt>
                <c:pt idx="67">
                  <c:v>75</c:v>
                </c:pt>
                <c:pt idx="68">
                  <c:v>80</c:v>
                </c:pt>
                <c:pt idx="69">
                  <c:v>83</c:v>
                </c:pt>
                <c:pt idx="70">
                  <c:v>90</c:v>
                </c:pt>
                <c:pt idx="71">
                  <c:v>96</c:v>
                </c:pt>
                <c:pt idx="72">
                  <c:v>98</c:v>
                </c:pt>
                <c:pt idx="73">
                  <c:v>99</c:v>
                </c:pt>
                <c:pt idx="74">
                  <c:v>104</c:v>
                </c:pt>
                <c:pt idx="75">
                  <c:v>110</c:v>
                </c:pt>
                <c:pt idx="76">
                  <c:v>118</c:v>
                </c:pt>
                <c:pt idx="77">
                  <c:v>120</c:v>
                </c:pt>
                <c:pt idx="78">
                  <c:v>121</c:v>
                </c:pt>
                <c:pt idx="79">
                  <c:v>127</c:v>
                </c:pt>
                <c:pt idx="80">
                  <c:v>126</c:v>
                </c:pt>
                <c:pt idx="81">
                  <c:v>134</c:v>
                </c:pt>
                <c:pt idx="82">
                  <c:v>138</c:v>
                </c:pt>
                <c:pt idx="83">
                  <c:v>140</c:v>
                </c:pt>
                <c:pt idx="84">
                  <c:v>141</c:v>
                </c:pt>
                <c:pt idx="85">
                  <c:v>141</c:v>
                </c:pt>
                <c:pt idx="86">
                  <c:v>139</c:v>
                </c:pt>
                <c:pt idx="87">
                  <c:v>150</c:v>
                </c:pt>
                <c:pt idx="88">
                  <c:v>162</c:v>
                </c:pt>
                <c:pt idx="89">
                  <c:v>163</c:v>
                </c:pt>
                <c:pt idx="90">
                  <c:v>173</c:v>
                </c:pt>
                <c:pt idx="91">
                  <c:v>183</c:v>
                </c:pt>
                <c:pt idx="92">
                  <c:v>188</c:v>
                </c:pt>
                <c:pt idx="93">
                  <c:v>191</c:v>
                </c:pt>
                <c:pt idx="94">
                  <c:v>213</c:v>
                </c:pt>
                <c:pt idx="95">
                  <c:v>224</c:v>
                </c:pt>
                <c:pt idx="96">
                  <c:v>240</c:v>
                </c:pt>
                <c:pt idx="97">
                  <c:v>279</c:v>
                </c:pt>
                <c:pt idx="98">
                  <c:v>306</c:v>
                </c:pt>
                <c:pt idx="99">
                  <c:v>335</c:v>
                </c:pt>
                <c:pt idx="100">
                  <c:v>338</c:v>
                </c:pt>
                <c:pt idx="101">
                  <c:v>381</c:v>
                </c:pt>
                <c:pt idx="102">
                  <c:v>427</c:v>
                </c:pt>
                <c:pt idx="103">
                  <c:v>478</c:v>
                </c:pt>
                <c:pt idx="104">
                  <c:v>493</c:v>
                </c:pt>
                <c:pt idx="105">
                  <c:v>552</c:v>
                </c:pt>
                <c:pt idx="106">
                  <c:v>599</c:v>
                </c:pt>
                <c:pt idx="107">
                  <c:v>626</c:v>
                </c:pt>
                <c:pt idx="108">
                  <c:v>688</c:v>
                </c:pt>
                <c:pt idx="109">
                  <c:v>769</c:v>
                </c:pt>
                <c:pt idx="110">
                  <c:v>842</c:v>
                </c:pt>
                <c:pt idx="111">
                  <c:v>885</c:v>
                </c:pt>
                <c:pt idx="112">
                  <c:v>959</c:v>
                </c:pt>
                <c:pt idx="113">
                  <c:v>1015</c:v>
                </c:pt>
                <c:pt idx="114">
                  <c:v>1017</c:v>
                </c:pt>
                <c:pt idx="115">
                  <c:v>1057</c:v>
                </c:pt>
                <c:pt idx="116">
                  <c:v>1136</c:v>
                </c:pt>
                <c:pt idx="117">
                  <c:v>1236</c:v>
                </c:pt>
                <c:pt idx="118">
                  <c:v>1291</c:v>
                </c:pt>
                <c:pt idx="119">
                  <c:v>1358</c:v>
                </c:pt>
                <c:pt idx="120">
                  <c:v>1395</c:v>
                </c:pt>
                <c:pt idx="121">
                  <c:v>1404</c:v>
                </c:pt>
                <c:pt idx="122">
                  <c:v>1437</c:v>
                </c:pt>
                <c:pt idx="123">
                  <c:v>1549</c:v>
                </c:pt>
                <c:pt idx="124">
                  <c:v>1551</c:v>
                </c:pt>
                <c:pt idx="125">
                  <c:v>1605</c:v>
                </c:pt>
                <c:pt idx="126">
                  <c:v>1706</c:v>
                </c:pt>
                <c:pt idx="127">
                  <c:v>1802</c:v>
                </c:pt>
                <c:pt idx="128">
                  <c:v>1847</c:v>
                </c:pt>
                <c:pt idx="129">
                  <c:v>1861</c:v>
                </c:pt>
                <c:pt idx="130">
                  <c:v>1969</c:v>
                </c:pt>
                <c:pt idx="131">
                  <c:v>1956</c:v>
                </c:pt>
                <c:pt idx="132">
                  <c:v>2040</c:v>
                </c:pt>
                <c:pt idx="133">
                  <c:v>2076</c:v>
                </c:pt>
                <c:pt idx="134">
                  <c:v>2114</c:v>
                </c:pt>
                <c:pt idx="135">
                  <c:v>2138</c:v>
                </c:pt>
                <c:pt idx="136">
                  <c:v>2092</c:v>
                </c:pt>
                <c:pt idx="137">
                  <c:v>2066</c:v>
                </c:pt>
                <c:pt idx="138">
                  <c:v>2148</c:v>
                </c:pt>
                <c:pt idx="139">
                  <c:v>2070</c:v>
                </c:pt>
                <c:pt idx="140">
                  <c:v>1969</c:v>
                </c:pt>
                <c:pt idx="141">
                  <c:v>1974</c:v>
                </c:pt>
                <c:pt idx="142">
                  <c:v>1956</c:v>
                </c:pt>
                <c:pt idx="143">
                  <c:v>1817</c:v>
                </c:pt>
                <c:pt idx="144">
                  <c:v>1764</c:v>
                </c:pt>
                <c:pt idx="145">
                  <c:v>1709</c:v>
                </c:pt>
                <c:pt idx="146">
                  <c:v>1679</c:v>
                </c:pt>
                <c:pt idx="147">
                  <c:v>1613</c:v>
                </c:pt>
                <c:pt idx="148">
                  <c:v>1613</c:v>
                </c:pt>
                <c:pt idx="149">
                  <c:v>1600</c:v>
                </c:pt>
                <c:pt idx="150">
                  <c:v>1459</c:v>
                </c:pt>
                <c:pt idx="151">
                  <c:v>1432</c:v>
                </c:pt>
                <c:pt idx="152">
                  <c:v>1372</c:v>
                </c:pt>
                <c:pt idx="153">
                  <c:v>1308</c:v>
                </c:pt>
                <c:pt idx="154">
                  <c:v>1249</c:v>
                </c:pt>
                <c:pt idx="155">
                  <c:v>1234</c:v>
                </c:pt>
                <c:pt idx="156">
                  <c:v>1203</c:v>
                </c:pt>
                <c:pt idx="157">
                  <c:v>1096</c:v>
                </c:pt>
                <c:pt idx="158">
                  <c:v>1044</c:v>
                </c:pt>
                <c:pt idx="159">
                  <c:v>993</c:v>
                </c:pt>
                <c:pt idx="160">
                  <c:v>952</c:v>
                </c:pt>
                <c:pt idx="161">
                  <c:v>860</c:v>
                </c:pt>
                <c:pt idx="162">
                  <c:v>825</c:v>
                </c:pt>
                <c:pt idx="163">
                  <c:v>784</c:v>
                </c:pt>
                <c:pt idx="164">
                  <c:v>723</c:v>
                </c:pt>
                <c:pt idx="165">
                  <c:v>723</c:v>
                </c:pt>
                <c:pt idx="166">
                  <c:v>706</c:v>
                </c:pt>
                <c:pt idx="167">
                  <c:v>682</c:v>
                </c:pt>
                <c:pt idx="168">
                  <c:v>657</c:v>
                </c:pt>
                <c:pt idx="169">
                  <c:v>636</c:v>
                </c:pt>
                <c:pt idx="170">
                  <c:v>632</c:v>
                </c:pt>
                <c:pt idx="171">
                  <c:v>610</c:v>
                </c:pt>
                <c:pt idx="172">
                  <c:v>623</c:v>
                </c:pt>
                <c:pt idx="173">
                  <c:v>611</c:v>
                </c:pt>
                <c:pt idx="174">
                  <c:v>616</c:v>
                </c:pt>
                <c:pt idx="175">
                  <c:v>658</c:v>
                </c:pt>
                <c:pt idx="176">
                  <c:v>674</c:v>
                </c:pt>
                <c:pt idx="177">
                  <c:v>669</c:v>
                </c:pt>
                <c:pt idx="178">
                  <c:v>630</c:v>
                </c:pt>
                <c:pt idx="179">
                  <c:v>715</c:v>
                </c:pt>
                <c:pt idx="182">
                  <c:v>9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CD-4BA3-857E-B86804E5EE0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-4.662547463082748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16.07.21</c:v>
                </c:pt>
                <c:pt idx="1">
                  <c:v>17.07.21</c:v>
                </c:pt>
                <c:pt idx="2">
                  <c:v>18.07.21</c:v>
                </c:pt>
                <c:pt idx="3">
                  <c:v>19.07.21</c:v>
                </c:pt>
                <c:pt idx="4">
                  <c:v>20.07.21</c:v>
                </c:pt>
                <c:pt idx="5">
                  <c:v>21.07.21</c:v>
                </c:pt>
                <c:pt idx="6">
                  <c:v>22.07.21</c:v>
                </c:pt>
                <c:pt idx="7">
                  <c:v>23.07.21</c:v>
                </c:pt>
                <c:pt idx="8">
                  <c:v>24.07.21</c:v>
                </c:pt>
                <c:pt idx="9">
                  <c:v>25.07.21</c:v>
                </c:pt>
                <c:pt idx="10">
                  <c:v>26.07.21</c:v>
                </c:pt>
                <c:pt idx="11">
                  <c:v>27.07.21</c:v>
                </c:pt>
                <c:pt idx="12">
                  <c:v>28.07.21</c:v>
                </c:pt>
                <c:pt idx="13">
                  <c:v>29.07.21</c:v>
                </c:pt>
                <c:pt idx="14">
                  <c:v>30.07.21</c:v>
                </c:pt>
                <c:pt idx="15">
                  <c:v>31.07.21</c:v>
                </c:pt>
                <c:pt idx="16">
                  <c:v>01.08.21</c:v>
                </c:pt>
                <c:pt idx="17">
                  <c:v>02.08.21</c:v>
                </c:pt>
                <c:pt idx="18">
                  <c:v>03.08.21</c:v>
                </c:pt>
                <c:pt idx="19">
                  <c:v>04.08.21</c:v>
                </c:pt>
                <c:pt idx="20">
                  <c:v>05.08.21</c:v>
                </c:pt>
                <c:pt idx="21">
                  <c:v>06.08.21</c:v>
                </c:pt>
                <c:pt idx="22">
                  <c:v>07.08.21</c:v>
                </c:pt>
                <c:pt idx="23">
                  <c:v>08.08.21</c:v>
                </c:pt>
                <c:pt idx="24">
                  <c:v>09.08.21</c:v>
                </c:pt>
                <c:pt idx="25">
                  <c:v>10.08.21</c:v>
                </c:pt>
                <c:pt idx="26">
                  <c:v>11.08.21</c:v>
                </c:pt>
                <c:pt idx="27">
                  <c:v>12.08.21</c:v>
                </c:pt>
                <c:pt idx="28">
                  <c:v>13.08.21</c:v>
                </c:pt>
                <c:pt idx="29">
                  <c:v>14.08.21</c:v>
                </c:pt>
                <c:pt idx="30">
                  <c:v>15.08.21</c:v>
                </c:pt>
                <c:pt idx="31">
                  <c:v>16.08.21</c:v>
                </c:pt>
                <c:pt idx="32">
                  <c:v>17.08.21</c:v>
                </c:pt>
                <c:pt idx="33">
                  <c:v>18.08.21</c:v>
                </c:pt>
                <c:pt idx="34">
                  <c:v>19.08.21</c:v>
                </c:pt>
                <c:pt idx="35">
                  <c:v>20.08.21</c:v>
                </c:pt>
                <c:pt idx="36">
                  <c:v>21.08.21</c:v>
                </c:pt>
                <c:pt idx="37">
                  <c:v>22.08.21</c:v>
                </c:pt>
                <c:pt idx="38">
                  <c:v>23.08.21</c:v>
                </c:pt>
                <c:pt idx="39">
                  <c:v>24.08.21</c:v>
                </c:pt>
                <c:pt idx="40">
                  <c:v>25.08.21</c:v>
                </c:pt>
                <c:pt idx="41">
                  <c:v>26.08.21</c:v>
                </c:pt>
                <c:pt idx="42">
                  <c:v>27.08.21</c:v>
                </c:pt>
                <c:pt idx="43">
                  <c:v>28.08.21</c:v>
                </c:pt>
                <c:pt idx="44">
                  <c:v>29.08.21</c:v>
                </c:pt>
                <c:pt idx="45">
                  <c:v>30.08.21</c:v>
                </c:pt>
                <c:pt idx="46">
                  <c:v>31.08.21</c:v>
                </c:pt>
                <c:pt idx="47">
                  <c:v>01.09.21</c:v>
                </c:pt>
                <c:pt idx="48">
                  <c:v>02.09.21</c:v>
                </c:pt>
                <c:pt idx="49">
                  <c:v>03.09.21</c:v>
                </c:pt>
                <c:pt idx="50">
                  <c:v>04.09.21</c:v>
                </c:pt>
                <c:pt idx="51">
                  <c:v>05.09.21</c:v>
                </c:pt>
                <c:pt idx="52">
                  <c:v>06.09.21</c:v>
                </c:pt>
                <c:pt idx="53">
                  <c:v>07.09.21</c:v>
                </c:pt>
                <c:pt idx="54">
                  <c:v>08.09.21</c:v>
                </c:pt>
                <c:pt idx="55">
                  <c:v>09.09.21</c:v>
                </c:pt>
                <c:pt idx="56">
                  <c:v>10.09.21</c:v>
                </c:pt>
                <c:pt idx="57">
                  <c:v>11.09.21</c:v>
                </c:pt>
                <c:pt idx="58">
                  <c:v>12.09.21</c:v>
                </c:pt>
                <c:pt idx="59">
                  <c:v>13.09.21</c:v>
                </c:pt>
                <c:pt idx="60">
                  <c:v>14.09.21</c:v>
                </c:pt>
                <c:pt idx="61">
                  <c:v>15.09.21</c:v>
                </c:pt>
                <c:pt idx="62">
                  <c:v>16.09.21</c:v>
                </c:pt>
                <c:pt idx="63">
                  <c:v>17.09.21</c:v>
                </c:pt>
                <c:pt idx="64">
                  <c:v>18.09.21</c:v>
                </c:pt>
                <c:pt idx="65">
                  <c:v>19.09.21</c:v>
                </c:pt>
                <c:pt idx="66">
                  <c:v>20.09.21</c:v>
                </c:pt>
                <c:pt idx="67">
                  <c:v>21.09.21</c:v>
                </c:pt>
                <c:pt idx="68">
                  <c:v>22.09.21</c:v>
                </c:pt>
                <c:pt idx="69">
                  <c:v>23.09.21</c:v>
                </c:pt>
                <c:pt idx="70">
                  <c:v>24.09.21</c:v>
                </c:pt>
                <c:pt idx="71">
                  <c:v>25.09.21</c:v>
                </c:pt>
                <c:pt idx="72">
                  <c:v>26.09.21</c:v>
                </c:pt>
                <c:pt idx="73">
                  <c:v>27.09.21</c:v>
                </c:pt>
                <c:pt idx="74">
                  <c:v>28.09.21</c:v>
                </c:pt>
                <c:pt idx="75">
                  <c:v>29.09.21</c:v>
                </c:pt>
                <c:pt idx="76">
                  <c:v>30.09.21</c:v>
                </c:pt>
                <c:pt idx="77">
                  <c:v>01.10.21</c:v>
                </c:pt>
                <c:pt idx="78">
                  <c:v>02.10.21</c:v>
                </c:pt>
                <c:pt idx="79">
                  <c:v>03.10.21</c:v>
                </c:pt>
                <c:pt idx="80">
                  <c:v>04.10.21</c:v>
                </c:pt>
                <c:pt idx="81">
                  <c:v>05.10.21</c:v>
                </c:pt>
                <c:pt idx="82">
                  <c:v>06.10.21</c:v>
                </c:pt>
                <c:pt idx="83">
                  <c:v>07.10.21</c:v>
                </c:pt>
                <c:pt idx="84">
                  <c:v>08.10.21</c:v>
                </c:pt>
                <c:pt idx="85">
                  <c:v>09.10.21</c:v>
                </c:pt>
                <c:pt idx="86">
                  <c:v>10.10.21</c:v>
                </c:pt>
                <c:pt idx="87">
                  <c:v>11.10.21</c:v>
                </c:pt>
                <c:pt idx="88">
                  <c:v>12.10.21</c:v>
                </c:pt>
                <c:pt idx="89">
                  <c:v>13.10.21</c:v>
                </c:pt>
                <c:pt idx="90">
                  <c:v>14.10.21</c:v>
                </c:pt>
                <c:pt idx="91">
                  <c:v>15.10.21</c:v>
                </c:pt>
                <c:pt idx="92">
                  <c:v>16.10.21</c:v>
                </c:pt>
                <c:pt idx="93">
                  <c:v>17.10.21</c:v>
                </c:pt>
                <c:pt idx="94">
                  <c:v>18.10.21</c:v>
                </c:pt>
                <c:pt idx="95">
                  <c:v>19.10.21</c:v>
                </c:pt>
                <c:pt idx="96">
                  <c:v>20.10.21</c:v>
                </c:pt>
                <c:pt idx="97">
                  <c:v>21.10.21</c:v>
                </c:pt>
                <c:pt idx="98">
                  <c:v>22.10.21</c:v>
                </c:pt>
                <c:pt idx="99">
                  <c:v>23.10.21</c:v>
                </c:pt>
                <c:pt idx="100">
                  <c:v>24.10.21</c:v>
                </c:pt>
                <c:pt idx="101">
                  <c:v>25.10.21</c:v>
                </c:pt>
                <c:pt idx="102">
                  <c:v>26.10.21</c:v>
                </c:pt>
                <c:pt idx="103">
                  <c:v>27.10.21</c:v>
                </c:pt>
                <c:pt idx="104">
                  <c:v>28.10.21</c:v>
                </c:pt>
                <c:pt idx="105">
                  <c:v>29.10.21</c:v>
                </c:pt>
                <c:pt idx="106">
                  <c:v>30.10.21</c:v>
                </c:pt>
                <c:pt idx="107">
                  <c:v>31.10.21</c:v>
                </c:pt>
                <c:pt idx="108">
                  <c:v>01.11.21</c:v>
                </c:pt>
                <c:pt idx="109">
                  <c:v>02.11.21</c:v>
                </c:pt>
                <c:pt idx="110">
                  <c:v>03.11.21</c:v>
                </c:pt>
                <c:pt idx="111">
                  <c:v>04.11.21</c:v>
                </c:pt>
                <c:pt idx="112">
                  <c:v>05.11.21</c:v>
                </c:pt>
                <c:pt idx="113">
                  <c:v>06.11.21</c:v>
                </c:pt>
                <c:pt idx="114">
                  <c:v>07.11.21</c:v>
                </c:pt>
                <c:pt idx="115">
                  <c:v>08.11.21</c:v>
                </c:pt>
                <c:pt idx="116">
                  <c:v>09.11.21</c:v>
                </c:pt>
                <c:pt idx="117">
                  <c:v>10.11.21</c:v>
                </c:pt>
                <c:pt idx="118">
                  <c:v>11.11.21</c:v>
                </c:pt>
                <c:pt idx="119">
                  <c:v>12.11.21</c:v>
                </c:pt>
                <c:pt idx="120">
                  <c:v>13.11.21</c:v>
                </c:pt>
                <c:pt idx="121">
                  <c:v>14.11.21</c:v>
                </c:pt>
                <c:pt idx="122">
                  <c:v>15.11.21</c:v>
                </c:pt>
                <c:pt idx="123">
                  <c:v>16.11.21</c:v>
                </c:pt>
                <c:pt idx="124">
                  <c:v>17.11.21</c:v>
                </c:pt>
                <c:pt idx="125">
                  <c:v>18.11.21</c:v>
                </c:pt>
                <c:pt idx="126">
                  <c:v>19.11.21</c:v>
                </c:pt>
                <c:pt idx="127">
                  <c:v>20.11.21</c:v>
                </c:pt>
                <c:pt idx="128">
                  <c:v>21.11.21</c:v>
                </c:pt>
                <c:pt idx="129">
                  <c:v>22.11.21</c:v>
                </c:pt>
                <c:pt idx="130">
                  <c:v>23.11.21</c:v>
                </c:pt>
                <c:pt idx="131">
                  <c:v>24.11.21</c:v>
                </c:pt>
                <c:pt idx="132">
                  <c:v>25.11.21</c:v>
                </c:pt>
                <c:pt idx="133">
                  <c:v>26.11.21</c:v>
                </c:pt>
                <c:pt idx="134">
                  <c:v>27.11.21</c:v>
                </c:pt>
                <c:pt idx="135">
                  <c:v>28.11.21</c:v>
                </c:pt>
                <c:pt idx="136">
                  <c:v>29.11.21</c:v>
                </c:pt>
                <c:pt idx="137">
                  <c:v>30.11.21</c:v>
                </c:pt>
                <c:pt idx="138">
                  <c:v>01.12.21</c:v>
                </c:pt>
                <c:pt idx="139">
                  <c:v>02.12.21</c:v>
                </c:pt>
                <c:pt idx="140">
                  <c:v>03.12.21</c:v>
                </c:pt>
                <c:pt idx="141">
                  <c:v>04.12.21</c:v>
                </c:pt>
                <c:pt idx="142">
                  <c:v>05.12.21</c:v>
                </c:pt>
                <c:pt idx="143">
                  <c:v>06.12.21</c:v>
                </c:pt>
                <c:pt idx="144">
                  <c:v>07.12.21</c:v>
                </c:pt>
                <c:pt idx="145">
                  <c:v>08.12.21</c:v>
                </c:pt>
                <c:pt idx="146">
                  <c:v>09.12.21</c:v>
                </c:pt>
                <c:pt idx="147">
                  <c:v>10.12.21</c:v>
                </c:pt>
                <c:pt idx="148">
                  <c:v>11.12.21</c:v>
                </c:pt>
                <c:pt idx="149">
                  <c:v>12.12.21</c:v>
                </c:pt>
                <c:pt idx="150">
                  <c:v>13.12.21</c:v>
                </c:pt>
                <c:pt idx="151">
                  <c:v>14.12.21</c:v>
                </c:pt>
                <c:pt idx="152">
                  <c:v>15.12.21</c:v>
                </c:pt>
                <c:pt idx="153">
                  <c:v>16.12.21</c:v>
                </c:pt>
                <c:pt idx="154">
                  <c:v>17.12.21</c:v>
                </c:pt>
                <c:pt idx="155">
                  <c:v>18.12.21</c:v>
                </c:pt>
                <c:pt idx="156">
                  <c:v>19.12.21</c:v>
                </c:pt>
                <c:pt idx="157">
                  <c:v>20.12.21</c:v>
                </c:pt>
                <c:pt idx="158">
                  <c:v>21.12.21</c:v>
                </c:pt>
                <c:pt idx="159">
                  <c:v>22.12.21</c:v>
                </c:pt>
                <c:pt idx="160">
                  <c:v>23.12.21</c:v>
                </c:pt>
                <c:pt idx="161">
                  <c:v>24.12.21</c:v>
                </c:pt>
                <c:pt idx="162">
                  <c:v>25.12.21</c:v>
                </c:pt>
                <c:pt idx="163">
                  <c:v>26.12.21</c:v>
                </c:pt>
                <c:pt idx="164">
                  <c:v>27.12.21</c:v>
                </c:pt>
                <c:pt idx="165">
                  <c:v>28.12.21</c:v>
                </c:pt>
                <c:pt idx="166">
                  <c:v>29.12.21</c:v>
                </c:pt>
                <c:pt idx="167">
                  <c:v>30.12.21</c:v>
                </c:pt>
                <c:pt idx="168">
                  <c:v>31.12.21</c:v>
                </c:pt>
                <c:pt idx="169">
                  <c:v>01.01.22</c:v>
                </c:pt>
                <c:pt idx="170">
                  <c:v>02.01.22</c:v>
                </c:pt>
                <c:pt idx="171">
                  <c:v>03.01.22</c:v>
                </c:pt>
                <c:pt idx="172">
                  <c:v>04.01.22</c:v>
                </c:pt>
                <c:pt idx="173">
                  <c:v>05.01.22</c:v>
                </c:pt>
                <c:pt idx="174">
                  <c:v>06.01.22</c:v>
                </c:pt>
                <c:pt idx="175">
                  <c:v>07.01.22</c:v>
                </c:pt>
                <c:pt idx="176">
                  <c:v>08.01.22</c:v>
                </c:pt>
                <c:pt idx="177">
                  <c:v>09.01.22</c:v>
                </c:pt>
                <c:pt idx="178">
                  <c:v>10.01.22</c:v>
                </c:pt>
                <c:pt idx="179">
                  <c:v>11.01.22</c:v>
                </c:pt>
                <c:pt idx="180">
                  <c:v>12.01.22</c:v>
                </c:pt>
                <c:pt idx="181">
                  <c:v>13.01.22</c:v>
                </c:pt>
                <c:pt idx="182">
                  <c:v>14.01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52</c:v>
                </c:pt>
                <c:pt idx="1">
                  <c:v>53</c:v>
                </c:pt>
                <c:pt idx="2">
                  <c:v>54</c:v>
                </c:pt>
                <c:pt idx="3">
                  <c:v>57</c:v>
                </c:pt>
                <c:pt idx="4">
                  <c:v>62</c:v>
                </c:pt>
                <c:pt idx="5">
                  <c:v>61</c:v>
                </c:pt>
                <c:pt idx="6">
                  <c:v>60</c:v>
                </c:pt>
                <c:pt idx="7">
                  <c:v>59</c:v>
                </c:pt>
                <c:pt idx="8">
                  <c:v>59</c:v>
                </c:pt>
                <c:pt idx="9">
                  <c:v>60</c:v>
                </c:pt>
                <c:pt idx="10">
                  <c:v>61</c:v>
                </c:pt>
                <c:pt idx="11">
                  <c:v>65</c:v>
                </c:pt>
                <c:pt idx="12">
                  <c:v>62</c:v>
                </c:pt>
                <c:pt idx="13">
                  <c:v>61</c:v>
                </c:pt>
                <c:pt idx="14">
                  <c:v>59</c:v>
                </c:pt>
                <c:pt idx="15">
                  <c:v>59</c:v>
                </c:pt>
                <c:pt idx="16">
                  <c:v>57</c:v>
                </c:pt>
                <c:pt idx="17">
                  <c:v>55</c:v>
                </c:pt>
                <c:pt idx="18">
                  <c:v>57</c:v>
                </c:pt>
                <c:pt idx="19">
                  <c:v>59</c:v>
                </c:pt>
                <c:pt idx="20">
                  <c:v>55</c:v>
                </c:pt>
                <c:pt idx="21">
                  <c:v>56</c:v>
                </c:pt>
                <c:pt idx="22">
                  <c:v>55</c:v>
                </c:pt>
                <c:pt idx="23">
                  <c:v>53</c:v>
                </c:pt>
                <c:pt idx="24">
                  <c:v>56</c:v>
                </c:pt>
                <c:pt idx="25">
                  <c:v>55</c:v>
                </c:pt>
                <c:pt idx="26">
                  <c:v>55</c:v>
                </c:pt>
                <c:pt idx="27">
                  <c:v>54</c:v>
                </c:pt>
                <c:pt idx="28">
                  <c:v>60</c:v>
                </c:pt>
                <c:pt idx="29">
                  <c:v>61</c:v>
                </c:pt>
                <c:pt idx="30">
                  <c:v>61</c:v>
                </c:pt>
                <c:pt idx="31">
                  <c:v>59</c:v>
                </c:pt>
                <c:pt idx="32">
                  <c:v>56</c:v>
                </c:pt>
                <c:pt idx="33">
                  <c:v>55</c:v>
                </c:pt>
                <c:pt idx="34">
                  <c:v>53</c:v>
                </c:pt>
                <c:pt idx="35">
                  <c:v>55</c:v>
                </c:pt>
                <c:pt idx="36">
                  <c:v>56</c:v>
                </c:pt>
                <c:pt idx="37">
                  <c:v>57</c:v>
                </c:pt>
                <c:pt idx="38">
                  <c:v>54</c:v>
                </c:pt>
                <c:pt idx="39">
                  <c:v>55</c:v>
                </c:pt>
                <c:pt idx="40">
                  <c:v>59</c:v>
                </c:pt>
                <c:pt idx="41">
                  <c:v>57</c:v>
                </c:pt>
                <c:pt idx="42">
                  <c:v>55</c:v>
                </c:pt>
                <c:pt idx="43">
                  <c:v>53</c:v>
                </c:pt>
                <c:pt idx="44">
                  <c:v>54</c:v>
                </c:pt>
                <c:pt idx="45">
                  <c:v>52</c:v>
                </c:pt>
                <c:pt idx="46">
                  <c:v>53</c:v>
                </c:pt>
                <c:pt idx="47">
                  <c:v>55</c:v>
                </c:pt>
                <c:pt idx="48">
                  <c:v>59</c:v>
                </c:pt>
                <c:pt idx="49">
                  <c:v>61</c:v>
                </c:pt>
                <c:pt idx="50">
                  <c:v>64</c:v>
                </c:pt>
                <c:pt idx="51">
                  <c:v>63</c:v>
                </c:pt>
                <c:pt idx="52">
                  <c:v>67</c:v>
                </c:pt>
                <c:pt idx="53">
                  <c:v>68</c:v>
                </c:pt>
                <c:pt idx="54">
                  <c:v>65</c:v>
                </c:pt>
                <c:pt idx="55">
                  <c:v>64</c:v>
                </c:pt>
                <c:pt idx="56">
                  <c:v>66</c:v>
                </c:pt>
                <c:pt idx="57">
                  <c:v>65</c:v>
                </c:pt>
                <c:pt idx="58">
                  <c:v>68</c:v>
                </c:pt>
                <c:pt idx="59">
                  <c:v>69</c:v>
                </c:pt>
                <c:pt idx="60">
                  <c:v>69</c:v>
                </c:pt>
                <c:pt idx="61">
                  <c:v>73</c:v>
                </c:pt>
                <c:pt idx="62">
                  <c:v>76</c:v>
                </c:pt>
                <c:pt idx="63">
                  <c:v>74</c:v>
                </c:pt>
                <c:pt idx="64">
                  <c:v>73</c:v>
                </c:pt>
                <c:pt idx="65">
                  <c:v>76</c:v>
                </c:pt>
                <c:pt idx="66">
                  <c:v>77</c:v>
                </c:pt>
                <c:pt idx="67">
                  <c:v>84</c:v>
                </c:pt>
                <c:pt idx="68">
                  <c:v>91</c:v>
                </c:pt>
                <c:pt idx="69">
                  <c:v>93</c:v>
                </c:pt>
                <c:pt idx="70">
                  <c:v>96</c:v>
                </c:pt>
                <c:pt idx="71">
                  <c:v>99</c:v>
                </c:pt>
                <c:pt idx="72">
                  <c:v>98</c:v>
                </c:pt>
                <c:pt idx="73">
                  <c:v>101</c:v>
                </c:pt>
                <c:pt idx="74">
                  <c:v>106</c:v>
                </c:pt>
                <c:pt idx="75">
                  <c:v>107</c:v>
                </c:pt>
                <c:pt idx="76">
                  <c:v>112</c:v>
                </c:pt>
                <c:pt idx="77">
                  <c:v>115</c:v>
                </c:pt>
                <c:pt idx="78">
                  <c:v>117</c:v>
                </c:pt>
                <c:pt idx="79">
                  <c:v>119</c:v>
                </c:pt>
                <c:pt idx="80">
                  <c:v>121</c:v>
                </c:pt>
                <c:pt idx="81">
                  <c:v>123</c:v>
                </c:pt>
                <c:pt idx="82">
                  <c:v>132</c:v>
                </c:pt>
                <c:pt idx="83">
                  <c:v>138</c:v>
                </c:pt>
                <c:pt idx="84">
                  <c:v>143</c:v>
                </c:pt>
                <c:pt idx="85">
                  <c:v>148</c:v>
                </c:pt>
                <c:pt idx="86">
                  <c:v>150</c:v>
                </c:pt>
                <c:pt idx="87">
                  <c:v>159</c:v>
                </c:pt>
                <c:pt idx="88">
                  <c:v>188</c:v>
                </c:pt>
                <c:pt idx="89">
                  <c:v>194</c:v>
                </c:pt>
                <c:pt idx="90">
                  <c:v>202</c:v>
                </c:pt>
                <c:pt idx="91">
                  <c:v>206</c:v>
                </c:pt>
                <c:pt idx="92">
                  <c:v>212</c:v>
                </c:pt>
                <c:pt idx="93">
                  <c:v>216</c:v>
                </c:pt>
                <c:pt idx="94">
                  <c:v>243</c:v>
                </c:pt>
                <c:pt idx="95">
                  <c:v>283</c:v>
                </c:pt>
                <c:pt idx="96">
                  <c:v>320</c:v>
                </c:pt>
                <c:pt idx="97">
                  <c:v>359</c:v>
                </c:pt>
                <c:pt idx="98">
                  <c:v>390</c:v>
                </c:pt>
                <c:pt idx="99">
                  <c:v>413</c:v>
                </c:pt>
                <c:pt idx="100">
                  <c:v>426</c:v>
                </c:pt>
                <c:pt idx="101">
                  <c:v>474</c:v>
                </c:pt>
                <c:pt idx="102">
                  <c:v>528</c:v>
                </c:pt>
                <c:pt idx="103">
                  <c:v>577</c:v>
                </c:pt>
                <c:pt idx="104">
                  <c:v>600</c:v>
                </c:pt>
                <c:pt idx="105">
                  <c:v>665</c:v>
                </c:pt>
                <c:pt idx="106">
                  <c:v>708</c:v>
                </c:pt>
                <c:pt idx="107">
                  <c:v>737</c:v>
                </c:pt>
                <c:pt idx="108">
                  <c:v>810</c:v>
                </c:pt>
                <c:pt idx="109">
                  <c:v>883</c:v>
                </c:pt>
                <c:pt idx="110">
                  <c:v>944</c:v>
                </c:pt>
                <c:pt idx="111">
                  <c:v>998</c:v>
                </c:pt>
                <c:pt idx="112">
                  <c:v>1085</c:v>
                </c:pt>
                <c:pt idx="113">
                  <c:v>1113</c:v>
                </c:pt>
                <c:pt idx="114">
                  <c:v>1115</c:v>
                </c:pt>
                <c:pt idx="115">
                  <c:v>1148</c:v>
                </c:pt>
                <c:pt idx="116">
                  <c:v>1220</c:v>
                </c:pt>
                <c:pt idx="117">
                  <c:v>1296</c:v>
                </c:pt>
                <c:pt idx="118">
                  <c:v>1382</c:v>
                </c:pt>
                <c:pt idx="119">
                  <c:v>1444</c:v>
                </c:pt>
                <c:pt idx="120">
                  <c:v>1492</c:v>
                </c:pt>
                <c:pt idx="121">
                  <c:v>1502</c:v>
                </c:pt>
                <c:pt idx="122">
                  <c:v>1489</c:v>
                </c:pt>
                <c:pt idx="123">
                  <c:v>1561</c:v>
                </c:pt>
                <c:pt idx="124">
                  <c:v>1613</c:v>
                </c:pt>
                <c:pt idx="125">
                  <c:v>1659</c:v>
                </c:pt>
                <c:pt idx="126">
                  <c:v>1790</c:v>
                </c:pt>
                <c:pt idx="127">
                  <c:v>1870</c:v>
                </c:pt>
                <c:pt idx="128">
                  <c:v>1917</c:v>
                </c:pt>
                <c:pt idx="129">
                  <c:v>1951</c:v>
                </c:pt>
                <c:pt idx="130">
                  <c:v>2001</c:v>
                </c:pt>
                <c:pt idx="131">
                  <c:v>2043</c:v>
                </c:pt>
                <c:pt idx="132">
                  <c:v>2160</c:v>
                </c:pt>
                <c:pt idx="133">
                  <c:v>2145</c:v>
                </c:pt>
                <c:pt idx="134">
                  <c:v>2193</c:v>
                </c:pt>
                <c:pt idx="135">
                  <c:v>2215</c:v>
                </c:pt>
                <c:pt idx="136">
                  <c:v>2185</c:v>
                </c:pt>
                <c:pt idx="137">
                  <c:v>2169</c:v>
                </c:pt>
                <c:pt idx="138">
                  <c:v>2257</c:v>
                </c:pt>
                <c:pt idx="139">
                  <c:v>2159</c:v>
                </c:pt>
                <c:pt idx="140">
                  <c:v>2094</c:v>
                </c:pt>
                <c:pt idx="141">
                  <c:v>2097</c:v>
                </c:pt>
                <c:pt idx="142">
                  <c:v>2074</c:v>
                </c:pt>
                <c:pt idx="143">
                  <c:v>1992</c:v>
                </c:pt>
                <c:pt idx="144">
                  <c:v>1950</c:v>
                </c:pt>
                <c:pt idx="145">
                  <c:v>1891</c:v>
                </c:pt>
                <c:pt idx="146">
                  <c:v>1825</c:v>
                </c:pt>
                <c:pt idx="147">
                  <c:v>1758</c:v>
                </c:pt>
                <c:pt idx="148">
                  <c:v>1759</c:v>
                </c:pt>
                <c:pt idx="149">
                  <c:v>1734</c:v>
                </c:pt>
                <c:pt idx="150">
                  <c:v>1611</c:v>
                </c:pt>
                <c:pt idx="151">
                  <c:v>1602</c:v>
                </c:pt>
                <c:pt idx="152">
                  <c:v>1567</c:v>
                </c:pt>
                <c:pt idx="153">
                  <c:v>1503</c:v>
                </c:pt>
                <c:pt idx="154">
                  <c:v>1454</c:v>
                </c:pt>
                <c:pt idx="155">
                  <c:v>1451</c:v>
                </c:pt>
                <c:pt idx="156">
                  <c:v>1420</c:v>
                </c:pt>
                <c:pt idx="157">
                  <c:v>1297</c:v>
                </c:pt>
                <c:pt idx="158">
                  <c:v>1236</c:v>
                </c:pt>
                <c:pt idx="159">
                  <c:v>1166</c:v>
                </c:pt>
                <c:pt idx="160">
                  <c:v>1144</c:v>
                </c:pt>
                <c:pt idx="161">
                  <c:v>1060</c:v>
                </c:pt>
                <c:pt idx="162">
                  <c:v>1023</c:v>
                </c:pt>
                <c:pt idx="163">
                  <c:v>987</c:v>
                </c:pt>
                <c:pt idx="164">
                  <c:v>860</c:v>
                </c:pt>
                <c:pt idx="165">
                  <c:v>855</c:v>
                </c:pt>
                <c:pt idx="166">
                  <c:v>818</c:v>
                </c:pt>
                <c:pt idx="167">
                  <c:v>791</c:v>
                </c:pt>
                <c:pt idx="168">
                  <c:v>778</c:v>
                </c:pt>
                <c:pt idx="169">
                  <c:v>749</c:v>
                </c:pt>
                <c:pt idx="170">
                  <c:v>720</c:v>
                </c:pt>
                <c:pt idx="171">
                  <c:v>686</c:v>
                </c:pt>
                <c:pt idx="172">
                  <c:v>712</c:v>
                </c:pt>
                <c:pt idx="173">
                  <c:v>715</c:v>
                </c:pt>
                <c:pt idx="174">
                  <c:v>745</c:v>
                </c:pt>
                <c:pt idx="175">
                  <c:v>797</c:v>
                </c:pt>
                <c:pt idx="176">
                  <c:v>809</c:v>
                </c:pt>
                <c:pt idx="177">
                  <c:v>804</c:v>
                </c:pt>
                <c:pt idx="178">
                  <c:v>790</c:v>
                </c:pt>
                <c:pt idx="179">
                  <c:v>892</c:v>
                </c:pt>
                <c:pt idx="182">
                  <c:v>1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7CD-4BA3-857E-B86804E5E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6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8455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6807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7205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9165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1783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4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8456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934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617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123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82131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6.01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988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6.01.2022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7904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6.01.2022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46708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6.01.2022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49992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6.01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0523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6.01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09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6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687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6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26330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92141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0347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7777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15433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1028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681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0820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2066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15318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24934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00271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544834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95612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481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82046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82370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101494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8853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6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3921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6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2318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6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7545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16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917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20971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52161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chart" Target="../charts/chart10.xml"/><Relationship Id="rId4" Type="http://schemas.openxmlformats.org/officeDocument/2006/relationships/tags" Target="../tags/tag5.xml"/><Relationship Id="rId9" Type="http://schemas.openxmlformats.org/officeDocument/2006/relationships/notesSlide" Target="../notesSlides/notesSlide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chart" Target="../charts/chart1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chart" Target="../charts/chart12.xml"/><Relationship Id="rId4" Type="http://schemas.openxmlformats.org/officeDocument/2006/relationships/tags" Target="../tags/tag14.xml"/><Relationship Id="rId9" Type="http://schemas.openxmlformats.org/officeDocument/2006/relationships/notesSlide" Target="../notesSlides/notesSlide2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chart" Target="../charts/chart1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chart" Target="../charts/chart14.xml"/><Relationship Id="rId4" Type="http://schemas.openxmlformats.org/officeDocument/2006/relationships/tags" Target="../tags/tag23.xml"/><Relationship Id="rId9" Type="http://schemas.openxmlformats.org/officeDocument/2006/relationships/notesSlide" Target="../notesSlides/notesSlide2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chart" Target="../charts/char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10" Type="http://schemas.openxmlformats.org/officeDocument/2006/relationships/chart" Target="../charts/chart16.xml"/><Relationship Id="rId4" Type="http://schemas.openxmlformats.org/officeDocument/2006/relationships/tags" Target="../tags/tag32.xml"/><Relationship Id="rId9" Type="http://schemas.openxmlformats.org/officeDocument/2006/relationships/notesSlide" Target="../notesSlides/notesSlide2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chart" Target="../charts/chart17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3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chart" Target="../charts/chart18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4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4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chart" Target="../charts/chart19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5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chart" Target="../charts/chart20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6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68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4" Type="http://schemas.openxmlformats.org/officeDocument/2006/relationships/chart" Target="../charts/char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: souhrnný přehled stavu očkování a zátěže COVID-19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proočkovanosti je patrná u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akutní lůžkové péči a v záchranné zdravotnické službě: lékaři 88 % a sestry 84 %. Přesto </a:t>
            </a:r>
            <a:r>
              <a:rPr lang="cs-CZ" sz="3200" b="1" dirty="0">
                <a:latin typeface="Arial" panose="020B0604020202020204"/>
              </a:rPr>
              <a:t>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14576053"/>
              </p:ext>
            </p:extLst>
          </p:nvPr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076850"/>
              </p:ext>
            </p:extLst>
          </p:nvPr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1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9374077"/>
              </p:ext>
            </p:extLst>
          </p:nvPr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4041085"/>
              </p:ext>
            </p:extLst>
          </p:nvPr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2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14. 1. 2022 </a:t>
            </a:r>
          </a:p>
        </p:txBody>
      </p:sp>
    </p:spTree>
    <p:extLst>
      <p:ext uri="{BB962C8B-B14F-4D97-AF65-F5344CB8AC3E}">
        <p14:creationId xmlns:p14="http://schemas.microsoft.com/office/powerpoint/2010/main" val="29716961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skupinami zdravotnických pracovníků je nejnižší proočkovanost u nelékařských zdravotnických pracovníků, která dosahuje 81 %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/2021 – 01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0553929A-22E7-4A3C-B2A6-F2301789E83D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14. 1. 2022</a:t>
            </a:r>
          </a:p>
        </p:txBody>
      </p:sp>
    </p:spTree>
    <p:extLst>
      <p:ext uri="{BB962C8B-B14F-4D97-AF65-F5344CB8AC3E}">
        <p14:creationId xmlns:p14="http://schemas.microsoft.com/office/powerpoint/2010/main" val="16451423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10/2021 – 01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14. 1. 2022</a:t>
            </a:r>
          </a:p>
        </p:txBody>
      </p:sp>
    </p:spTree>
    <p:extLst>
      <p:ext uri="{BB962C8B-B14F-4D97-AF65-F5344CB8AC3E}">
        <p14:creationId xmlns:p14="http://schemas.microsoft.com/office/powerpoint/2010/main" val="11197486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14. 1. 2022</a:t>
            </a:r>
          </a:p>
        </p:txBody>
      </p:sp>
    </p:spTree>
    <p:extLst>
      <p:ext uri="{BB962C8B-B14F-4D97-AF65-F5344CB8AC3E}">
        <p14:creationId xmlns:p14="http://schemas.microsoft.com/office/powerpoint/2010/main" val="18676973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4. 1. 2022 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4730867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6BEBD7D0-42BD-498C-808F-66E0FCBEB10D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71A37A32-F802-4975-99C7-0B9077448D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3534845"/>
              </p:ext>
            </p:extLst>
          </p:nvPr>
        </p:nvGraphicFramePr>
        <p:xfrm>
          <a:off x="1943099" y="1600994"/>
          <a:ext cx="9946013" cy="4555950"/>
        </p:xfrm>
        <a:graphic>
          <a:graphicData uri="http://schemas.openxmlformats.org/drawingml/2006/table">
            <a:tbl>
              <a:tblPr/>
              <a:tblGrid>
                <a:gridCol w="1420859">
                  <a:extLst>
                    <a:ext uri="{9D8B030D-6E8A-4147-A177-3AD203B41FA5}">
                      <a16:colId xmlns:a16="http://schemas.microsoft.com/office/drawing/2014/main" val="813267464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586269289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962012548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727593777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180719501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290478194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127203108"/>
                    </a:ext>
                  </a:extLst>
                </a:gridCol>
              </a:tblGrid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3377833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8C9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3C7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8309832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30016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6102092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5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5129868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5071193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5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6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067727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DF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779964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3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2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4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9498342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256948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6954292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8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5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2601894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1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6227859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F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8774114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4847895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2" y="614100"/>
            <a:ext cx="19696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4. 1. 2022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04535"/>
              </p:ext>
            </p:extLst>
          </p:nvPr>
        </p:nvGraphicFramePr>
        <p:xfrm>
          <a:off x="302889" y="921878"/>
          <a:ext cx="11586222" cy="5235072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65785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 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78 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6 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1 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5 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 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62 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 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 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0 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9 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 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1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 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(7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5 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 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7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 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6 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 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1 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 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(7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 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4 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 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8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1 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91 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 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1 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9 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2 (7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 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 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5 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 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 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7 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1 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 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7 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9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2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77 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300 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52 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19 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201 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19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148535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ADC779F1-3198-4921-91E6-4EEDEB015E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3541632"/>
              </p:ext>
            </p:extLst>
          </p:nvPr>
        </p:nvGraphicFramePr>
        <p:xfrm>
          <a:off x="2419350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65423468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47258149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65334220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04495121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097971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10771814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6511439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56715713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58872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0124333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60052279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8538393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75383993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34489164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771933709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837518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447284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91862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3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240239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F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497639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7C4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091757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802795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0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C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D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924178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547436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98239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C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10491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189087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01031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lékaři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4. 1. 2022 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9490372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63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4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4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1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1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5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Lékaři včetně zubních lékařů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 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2148492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FC1E4B15-9955-4A13-AB64-AC23A01F6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8805437"/>
              </p:ext>
            </p:extLst>
          </p:nvPr>
        </p:nvGraphicFramePr>
        <p:xfrm>
          <a:off x="2419350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12835280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9862285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3100950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13469969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28594903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95505715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25217902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01975750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0304793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81217012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39761962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93483038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63755039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69989053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117404753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102605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2135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376248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3079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0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45613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52923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009718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609982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206206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953056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C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745277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B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27105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B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C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2016017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é sestry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§ 5 Všeobecná sestra, § 5a Dětská sestra, § 6 Porodní asistentka, § 21b Praktická sestra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7D8455FB-AA19-461A-A8C9-7539A364F2DC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4. 1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AF1561B3-7273-473B-A2DD-A77D8870E0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3455646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3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65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6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3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1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0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7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96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5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7092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4400" dirty="0">
                <a:solidFill>
                  <a:srgbClr val="000000"/>
                </a:solidFill>
              </a:rPr>
              <a:t>Přehled stavu očkování ZP </a:t>
            </a: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428029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AC5E1F73-A0CF-4AAB-BAF9-A9A32A29AC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8191841"/>
              </p:ext>
            </p:extLst>
          </p:nvPr>
        </p:nvGraphicFramePr>
        <p:xfrm>
          <a:off x="2419350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342204041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3254454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20762098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71324795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08799319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2818777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45864792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24179820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2362808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0106264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67671460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38637238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62664427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32999879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84964285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888439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793828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000570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1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127649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4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780288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059895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702105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459029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976358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730539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361255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716818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783174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ostatní ZP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NLZP § 7 až § 42 kromě § 21b, farmaceuti; jedna osoba může pracovat ve více krajích a ve více typech zdravotnických zařízení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8BE7577-D0D0-4CAF-8960-5C7A9603C643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4. 1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50FC5E21-D439-468C-9A0B-56B392BA28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0254052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33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1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8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7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7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2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6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42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52786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časné nákazy a virová zátěž ZP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24292118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4. 1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6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8 (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9 (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5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7 (4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1 (7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6 (8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 (19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06765" y="1702345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789707" y="1533071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7 denní klouzavý průměr</a:t>
            </a:r>
          </a:p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06765" y="1997620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492063" y="2907371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42614330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4E2462CD-2C28-4222-9D6A-55BCDDF9CD02}"/>
              </a:ext>
            </a:extLst>
          </p:cNvPr>
          <p:cNvGraphicFramePr/>
          <p:nvPr/>
        </p:nvGraphicFramePr>
        <p:xfrm>
          <a:off x="142875" y="1083825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*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4. 1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723900" y="6567385"/>
            <a:ext cx="49339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56231"/>
          <a:ext cx="4752977" cy="4745385"/>
        </p:xfrm>
        <a:graphic>
          <a:graphicData uri="http://schemas.openxmlformats.org/drawingml/2006/table">
            <a:tbl>
              <a:tblPr/>
              <a:tblGrid>
                <a:gridCol w="1456505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1451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1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107070DB-7A5B-419B-A663-E01DC064A02B}"/>
              </a:ext>
            </a:extLst>
          </p:cNvPr>
          <p:cNvSpPr txBox="1"/>
          <p:nvPr/>
        </p:nvSpPr>
        <p:spPr>
          <a:xfrm>
            <a:off x="6095202" y="6093400"/>
            <a:ext cx="609679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000" dirty="0"/>
              <a:t>Počty aktuálně pozitivních ZP jsou nadhodnocené z důvodu zpoždění v aktualizaci údajů o negativitě/ vyléčení, které u ZP provádí KHS. Odhadovaný počet pravděpodobně již negativních ZP je 374 celkem (63 lékařů, 137 sester, 174 jiných ZP), odhad vychází z počtu aktuálně pozitivních ZP s datem pozitivity starším než 14 dní.</a:t>
            </a:r>
          </a:p>
        </p:txBody>
      </p:sp>
    </p:spTree>
    <p:extLst>
      <p:ext uri="{BB962C8B-B14F-4D97-AF65-F5344CB8AC3E}">
        <p14:creationId xmlns:p14="http://schemas.microsoft.com/office/powerpoint/2010/main" val="7573190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lékařů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A29735D-E67B-4582-988F-B716296F695C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2783236E-7848-4370-8C68-345D039C0ED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12.–17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12.–24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12.–3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1.–7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1.–14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4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3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72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95CFE655-BEE9-4DE2-B980-65136AE915FD}"/>
              </a:ext>
            </a:extLst>
          </p:cNvPr>
          <p:cNvCxnSpPr>
            <a:cxnSpLocks/>
          </p:cNvCxnSpPr>
          <p:nvPr/>
        </p:nvCxnSpPr>
        <p:spPr>
          <a:xfrm flipV="1">
            <a:off x="6918821" y="3198541"/>
            <a:ext cx="1758454" cy="17827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9D3A5FA6-DF59-4974-AD14-85F21837514F}"/>
              </a:ext>
            </a:extLst>
          </p:cNvPr>
          <p:cNvCxnSpPr>
            <a:cxnSpLocks/>
          </p:cNvCxnSpPr>
          <p:nvPr/>
        </p:nvCxnSpPr>
        <p:spPr>
          <a:xfrm>
            <a:off x="8763000" y="3198541"/>
            <a:ext cx="360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13994501-0525-49C1-AEA0-947A2999B5EF}"/>
              </a:ext>
            </a:extLst>
          </p:cNvPr>
          <p:cNvCxnSpPr>
            <a:cxnSpLocks/>
          </p:cNvCxnSpPr>
          <p:nvPr/>
        </p:nvCxnSpPr>
        <p:spPr>
          <a:xfrm>
            <a:off x="9207225" y="3245685"/>
            <a:ext cx="1143913" cy="12310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D9A912EE-5CEB-4C93-B212-0DC7DE6CD249}"/>
              </a:ext>
            </a:extLst>
          </p:cNvPr>
          <p:cNvCxnSpPr>
            <a:cxnSpLocks/>
          </p:cNvCxnSpPr>
          <p:nvPr/>
        </p:nvCxnSpPr>
        <p:spPr>
          <a:xfrm>
            <a:off x="10487025" y="4476750"/>
            <a:ext cx="684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FC586240-9E7E-4D83-9591-766145B0607A}"/>
              </a:ext>
            </a:extLst>
          </p:cNvPr>
          <p:cNvCxnSpPr>
            <a:cxnSpLocks/>
          </p:cNvCxnSpPr>
          <p:nvPr/>
        </p:nvCxnSpPr>
        <p:spPr>
          <a:xfrm flipV="1">
            <a:off x="11293720" y="3861217"/>
            <a:ext cx="298205" cy="5637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581228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438411" cy="576000"/>
          </a:xfrm>
        </p:spPr>
        <p:txBody>
          <a:bodyPr/>
          <a:lstStyle/>
          <a:p>
            <a:r>
              <a:rPr lang="cs-CZ" dirty="0"/>
              <a:t>Počty COVID-19 pozitivních na 100 000 osob v populaci lékařů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757297"/>
            <a:ext cx="143810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lékařů (suma za hodnocený časový úsek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6A1A17EB-9ECA-4C24-8912-EF92363C1CE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1804359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sester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otovo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12.–17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12.–24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12.–3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1.–7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1.–14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5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1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37.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C0486646-D4B7-4AA3-82EE-24019F42E765}"/>
              </a:ext>
            </a:extLst>
          </p:cNvPr>
          <p:cNvCxnSpPr>
            <a:cxnSpLocks/>
          </p:cNvCxnSpPr>
          <p:nvPr/>
        </p:nvCxnSpPr>
        <p:spPr>
          <a:xfrm flipV="1">
            <a:off x="7052171" y="3198541"/>
            <a:ext cx="1758454" cy="17827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C47E8D0D-840D-43A1-B948-02CE61D8092F}"/>
              </a:ext>
            </a:extLst>
          </p:cNvPr>
          <p:cNvCxnSpPr>
            <a:cxnSpLocks/>
          </p:cNvCxnSpPr>
          <p:nvPr/>
        </p:nvCxnSpPr>
        <p:spPr>
          <a:xfrm>
            <a:off x="8896350" y="3198541"/>
            <a:ext cx="360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FFFA67E1-254B-4037-A144-017BFEA6C4A9}"/>
              </a:ext>
            </a:extLst>
          </p:cNvPr>
          <p:cNvCxnSpPr>
            <a:cxnSpLocks/>
          </p:cNvCxnSpPr>
          <p:nvPr/>
        </p:nvCxnSpPr>
        <p:spPr>
          <a:xfrm>
            <a:off x="9340575" y="3245685"/>
            <a:ext cx="1316031" cy="14374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E3B86A52-1F6E-4BF8-97A9-8E2D8D203070}"/>
              </a:ext>
            </a:extLst>
          </p:cNvPr>
          <p:cNvCxnSpPr>
            <a:cxnSpLocks/>
          </p:cNvCxnSpPr>
          <p:nvPr/>
        </p:nvCxnSpPr>
        <p:spPr>
          <a:xfrm flipV="1">
            <a:off x="10808383" y="4383993"/>
            <a:ext cx="886133" cy="3662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3009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02694" cy="576000"/>
          </a:xfrm>
        </p:spPr>
        <p:txBody>
          <a:bodyPr/>
          <a:lstStyle/>
          <a:p>
            <a:r>
              <a:rPr lang="cs-CZ" dirty="0"/>
              <a:t>Počty COVID-19 pozitivních na 100 000 osob v populaci seste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49877" y="1757297"/>
            <a:ext cx="139250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sester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AB75CD35-D60A-4842-A868-455961D2CCC6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0311299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ostatních ZP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12.–17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12.–24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12.–3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1.–7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1.–14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7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7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5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6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ABABE5CE-68CB-4851-B6C9-7C21D8934A0D}"/>
              </a:ext>
            </a:extLst>
          </p:cNvPr>
          <p:cNvCxnSpPr>
            <a:cxnSpLocks/>
          </p:cNvCxnSpPr>
          <p:nvPr/>
        </p:nvCxnSpPr>
        <p:spPr>
          <a:xfrm flipV="1">
            <a:off x="7052171" y="3198541"/>
            <a:ext cx="1758454" cy="17827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5C91E9AD-11DD-4B05-8EA2-2E10DC44FE06}"/>
              </a:ext>
            </a:extLst>
          </p:cNvPr>
          <p:cNvCxnSpPr>
            <a:cxnSpLocks/>
          </p:cNvCxnSpPr>
          <p:nvPr/>
        </p:nvCxnSpPr>
        <p:spPr>
          <a:xfrm>
            <a:off x="8896350" y="3198541"/>
            <a:ext cx="360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se šipkou 19">
            <a:extLst>
              <a:ext uri="{FF2B5EF4-FFF2-40B4-BE49-F238E27FC236}">
                <a16:creationId xmlns:a16="http://schemas.microsoft.com/office/drawing/2014/main" id="{D46D7FC4-738E-41E8-B0AC-C73EA4898035}"/>
              </a:ext>
            </a:extLst>
          </p:cNvPr>
          <p:cNvCxnSpPr>
            <a:cxnSpLocks/>
          </p:cNvCxnSpPr>
          <p:nvPr/>
        </p:nvCxnSpPr>
        <p:spPr>
          <a:xfrm>
            <a:off x="9340575" y="3245685"/>
            <a:ext cx="1316031" cy="14374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76671115-F44F-4566-8E46-184AD6FA30C5}"/>
              </a:ext>
            </a:extLst>
          </p:cNvPr>
          <p:cNvCxnSpPr>
            <a:cxnSpLocks/>
          </p:cNvCxnSpPr>
          <p:nvPr/>
        </p:nvCxnSpPr>
        <p:spPr>
          <a:xfrm flipV="1">
            <a:off x="10808383" y="4383993"/>
            <a:ext cx="886133" cy="3662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170539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647961" cy="576000"/>
          </a:xfrm>
        </p:spPr>
        <p:txBody>
          <a:bodyPr/>
          <a:lstStyle/>
          <a:p>
            <a:r>
              <a:rPr lang="cs-CZ" dirty="0"/>
              <a:t>Počty COVID-19 pozitivních na 100 000 osob v populaci ostatních ZP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ostatních ZP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48FC8E2C-EA85-4B60-9865-EAD22E25BEC9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392391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95147" y="695624"/>
            <a:ext cx="116017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dávku vakcinace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8 % lékařů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4 % sesterských povolání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1 % ostatních zdravotnických povolání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513717" y="23550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57785" y="3112624"/>
            <a:ext cx="1176796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 ZP během podzimu 2021 vzrostla, a to ve všech profesních skupinách. Celková proočkovanost ZP dosahuje 83,6 % (jen ZP skutečně aktivní ve zdravotnictví). Roste i proočkovanost posilující dávkou. Z pracovníků, kteří na ni mají (časově) nárok, ji dosud absolvovalo 85,0 % lékařů, 73,9 % sester a 69,8 % ostatních NLZP (celkem 75,0 % všech aktivních ZP s nárokem na booster)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513717" y="62211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ZP CELKEM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3E2D82D-108B-4D73-94F6-FBD731C2D303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F11535AB-AF88-4B35-89FD-7232D9821B3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12.–17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12.–24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12.–3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1.–7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1.–14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3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4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34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17B4C133-5DB0-4C4D-9D99-18484F2C0AA4}"/>
              </a:ext>
            </a:extLst>
          </p:cNvPr>
          <p:cNvCxnSpPr>
            <a:cxnSpLocks/>
          </p:cNvCxnSpPr>
          <p:nvPr/>
        </p:nvCxnSpPr>
        <p:spPr>
          <a:xfrm flipV="1">
            <a:off x="7052171" y="3198541"/>
            <a:ext cx="1758454" cy="17827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se šipkou 19">
            <a:extLst>
              <a:ext uri="{FF2B5EF4-FFF2-40B4-BE49-F238E27FC236}">
                <a16:creationId xmlns:a16="http://schemas.microsoft.com/office/drawing/2014/main" id="{80045DB8-1FB8-459C-A194-22D100F36041}"/>
              </a:ext>
            </a:extLst>
          </p:cNvPr>
          <p:cNvCxnSpPr>
            <a:cxnSpLocks/>
          </p:cNvCxnSpPr>
          <p:nvPr/>
        </p:nvCxnSpPr>
        <p:spPr>
          <a:xfrm>
            <a:off x="8896350" y="3198541"/>
            <a:ext cx="360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6E803478-0706-4A0E-816A-66B87A510D61}"/>
              </a:ext>
            </a:extLst>
          </p:cNvPr>
          <p:cNvCxnSpPr>
            <a:cxnSpLocks/>
          </p:cNvCxnSpPr>
          <p:nvPr/>
        </p:nvCxnSpPr>
        <p:spPr>
          <a:xfrm>
            <a:off x="9340575" y="3245685"/>
            <a:ext cx="1316031" cy="14374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053AB848-22F9-448C-A9F8-DB0AD44C2907}"/>
              </a:ext>
            </a:extLst>
          </p:cNvPr>
          <p:cNvCxnSpPr>
            <a:cxnSpLocks/>
          </p:cNvCxnSpPr>
          <p:nvPr/>
        </p:nvCxnSpPr>
        <p:spPr>
          <a:xfrm flipV="1">
            <a:off x="10808383" y="4383993"/>
            <a:ext cx="886133" cy="3662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27597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059BC09-2C2D-4FF9-AC93-923518C33AB4}"/>
              </a:ext>
            </a:extLst>
          </p:cNvPr>
          <p:cNvGraphicFramePr>
            <a:graphicFrameLocks noGrp="1"/>
          </p:cNvGraphicFramePr>
          <p:nvPr/>
        </p:nvGraphicFramePr>
        <p:xfrm>
          <a:off x="2333625" y="2260664"/>
          <a:ext cx="9284988" cy="3621345"/>
        </p:xfrm>
        <a:graphic>
          <a:graphicData uri="http://schemas.openxmlformats.org/drawingml/2006/table">
            <a:tbl>
              <a:tblPr/>
              <a:tblGrid>
                <a:gridCol w="773749">
                  <a:extLst>
                    <a:ext uri="{9D8B030D-6E8A-4147-A177-3AD203B41FA5}">
                      <a16:colId xmlns:a16="http://schemas.microsoft.com/office/drawing/2014/main" val="1064280596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3064341086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2910282430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2389929789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909678096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3465310302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3457619746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1014005469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3440262335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1199901110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2075083108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2470222893"/>
                    </a:ext>
                  </a:extLst>
                </a:gridCol>
              </a:tblGrid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0419616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B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6A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4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658615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F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0723249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1881667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2572765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2127712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8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7572244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F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0628872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1121802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0807966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9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03603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D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86833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0170961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AA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4117262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B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9420068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Aktuální počet COVID-19 pozitivních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4. 1. 2022 </a:t>
            </a:r>
            <a:endParaRPr lang="cs-CZ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ýkaz</a:t>
            </a:r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 E (MZ) 2-01, E (MZ) 3-01 a E (MZ) 4-01</a:t>
            </a:r>
            <a:endParaRPr lang="cs-CZ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5035080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0889C92-8A2A-4B55-A57F-1BCB875DE550}"/>
              </a:ext>
            </a:extLst>
          </p:cNvPr>
          <p:cNvGraphicFramePr>
            <a:graphicFrameLocks noGrp="1"/>
          </p:cNvGraphicFramePr>
          <p:nvPr/>
        </p:nvGraphicFramePr>
        <p:xfrm>
          <a:off x="3783324" y="1999780"/>
          <a:ext cx="7351844" cy="3993135"/>
        </p:xfrm>
        <a:graphic>
          <a:graphicData uri="http://schemas.openxmlformats.org/drawingml/2006/table">
            <a:tbl>
              <a:tblPr/>
              <a:tblGrid>
                <a:gridCol w="1837961">
                  <a:extLst>
                    <a:ext uri="{9D8B030D-6E8A-4147-A177-3AD203B41FA5}">
                      <a16:colId xmlns:a16="http://schemas.microsoft.com/office/drawing/2014/main" val="2483960759"/>
                    </a:ext>
                  </a:extLst>
                </a:gridCol>
                <a:gridCol w="1837961">
                  <a:extLst>
                    <a:ext uri="{9D8B030D-6E8A-4147-A177-3AD203B41FA5}">
                      <a16:colId xmlns:a16="http://schemas.microsoft.com/office/drawing/2014/main" val="1582930860"/>
                    </a:ext>
                  </a:extLst>
                </a:gridCol>
                <a:gridCol w="1837961">
                  <a:extLst>
                    <a:ext uri="{9D8B030D-6E8A-4147-A177-3AD203B41FA5}">
                      <a16:colId xmlns:a16="http://schemas.microsoft.com/office/drawing/2014/main" val="1060711755"/>
                    </a:ext>
                  </a:extLst>
                </a:gridCol>
                <a:gridCol w="1837961">
                  <a:extLst>
                    <a:ext uri="{9D8B030D-6E8A-4147-A177-3AD203B41FA5}">
                      <a16:colId xmlns:a16="http://schemas.microsoft.com/office/drawing/2014/main" val="529346191"/>
                    </a:ext>
                  </a:extLst>
                </a:gridCol>
              </a:tblGrid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1176724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998845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0508665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4872668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8553655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2920215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9714707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934364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6430668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8645299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3291105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6853858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341155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2708053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7342425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(63 / 12 / 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 (76 / 5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(57 / - / 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 (196 / 17 / 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14 / 6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18 / 2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10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42 / 8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4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7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10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31 / 1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7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3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7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27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2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3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6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6 / 4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3 / 3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6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5 / 7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4 / 3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8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8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0 / 3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5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5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5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25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5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8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7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7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9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23 / 5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8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50 / 7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8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4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8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30 / 3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5 / 4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7 / 3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0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22 / 7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9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17 / 3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17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(43 / 5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 (136 / 36 / 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8 (235 / 27 / 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3 (161 / 1 / 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7 (532 / 64 / 4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za 7denní období 8. 1. – 14. 1. 2022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9423716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6"/>
            <a:ext cx="12192000" cy="1890853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zdravotnických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ochranný efekt očkování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2363148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Graf 18">
            <a:extLst>
              <a:ext uri="{FF2B5EF4-FFF2-40B4-BE49-F238E27FC236}">
                <a16:creationId xmlns:a16="http://schemas.microsoft.com/office/drawing/2014/main" id="{9F4AC683-8737-42B2-B20A-B68F0E097470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09330" y="3624"/>
            <a:ext cx="1060071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lékařů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262595" y="1110693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ékaři</a:t>
            </a: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DCB03B0D-B5AE-4C94-AA9C-80A9AFAB3A87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10040354" y="688338"/>
          <a:ext cx="2087718" cy="2103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87718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31376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bez posilující dávk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s posilující dávko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753142"/>
                  </a:ext>
                </a:extLst>
              </a:tr>
            </a:tbl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ECAC31A7-C4E4-4CB9-A28C-F3CA0F6BCD53}"/>
              </a:ext>
            </a:extLst>
          </p:cNvPr>
          <p:cNvGrpSpPr/>
          <p:nvPr/>
        </p:nvGrpSpPr>
        <p:grpSpPr>
          <a:xfrm>
            <a:off x="9538838" y="1327592"/>
            <a:ext cx="501515" cy="1254265"/>
            <a:chOff x="8290713" y="1759987"/>
            <a:chExt cx="501515" cy="1250887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FD1305BD-CC1F-4325-B17E-E074F40F83EA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3010874"/>
              <a:ext cx="496800" cy="0"/>
            </a:xfrm>
            <a:prstGeom prst="line">
              <a:avLst/>
            </a:prstGeom>
            <a:ln w="50800" cmpd="sng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FDDBFA49-C2FE-4AFF-B76D-8EB31D6A128F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2348462"/>
              <a:ext cx="496800" cy="0"/>
            </a:xfrm>
            <a:prstGeom prst="line">
              <a:avLst/>
            </a:prstGeom>
            <a:ln w="50800" cmpd="sng">
              <a:solidFill>
                <a:srgbClr val="517BC8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58129E1E-BF1C-472F-8CC0-5BD8B817DC29}"/>
                </a:ext>
              </a:extLst>
            </p:cNvPr>
            <p:cNvCxnSpPr>
              <a:cxnSpLocks/>
            </p:cNvCxnSpPr>
            <p:nvPr/>
          </p:nvCxnSpPr>
          <p:spPr>
            <a:xfrm>
              <a:off x="8295428" y="1759987"/>
              <a:ext cx="496800" cy="0"/>
            </a:xfrm>
            <a:prstGeom prst="line">
              <a:avLst/>
            </a:prstGeom>
            <a:ln w="50800" cmpd="sng">
              <a:solidFill>
                <a:srgbClr val="C4111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8445511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5">
            <a:extLst>
              <a:ext uri="{FF2B5EF4-FFF2-40B4-BE49-F238E27FC236}">
                <a16:creationId xmlns:a16="http://schemas.microsoft.com/office/drawing/2014/main" id="{28E7AE82-24A9-41BE-B694-86DAF8F51CA5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5724414"/>
              </p:ext>
            </p:extLst>
          </p:nvPr>
        </p:nvGraphicFramePr>
        <p:xfrm>
          <a:off x="674256" y="722290"/>
          <a:ext cx="11145281" cy="4377040"/>
        </p:xfrm>
        <a:graphic>
          <a:graphicData uri="http://schemas.openxmlformats.org/drawingml/2006/table">
            <a:tbl>
              <a:tblPr/>
              <a:tblGrid>
                <a:gridCol w="1560945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1791855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1838036">
                  <a:extLst>
                    <a:ext uri="{9D8B030D-6E8A-4147-A177-3AD203B41FA5}">
                      <a16:colId xmlns:a16="http://schemas.microsoft.com/office/drawing/2014/main" val="205287478"/>
                    </a:ext>
                  </a:extLst>
                </a:gridCol>
                <a:gridCol w="1930400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  <a:gridCol w="1788845">
                  <a:extLst>
                    <a:ext uri="{9D8B030D-6E8A-4147-A177-3AD203B41FA5}">
                      <a16:colId xmlns:a16="http://schemas.microsoft.com/office/drawing/2014/main" val="366910284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posilující dávk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posilující dávk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BEZ posilující dávky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S posilující dávkou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3.2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4.4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7848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3.1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6.4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-Říj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4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8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7.3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1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57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0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2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4.9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2.3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9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0.5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.4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539644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9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Krátká doba sled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Krátká doba sled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- lékaři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535052" y="626914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</a:t>
            </a:r>
            <a:r>
              <a:rPr kumimoji="0" lang="cs-CZ" sz="20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kařů</a:t>
            </a: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4E5136DD-EA08-44B4-9244-D47999FE566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74256" y="507044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14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2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5B5B0BB0-5406-461D-A320-1D46AFD62DA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2533" y="5334436"/>
            <a:ext cx="1176521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významně klesá, což je mimo jiné i důsledek nastupujícího šíření varianty Omikron. Avšak posilující dávka vrací ochranu proti nákaze zpět nad hodnotu 70% až 85%. Zdravotničtí pracovníci jsou v tomto ohledu velmi důležitý model,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97613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691878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sester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64955" y="1215468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stry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C178D285-A32D-4871-A862-BC61198D8726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Tabulka 6">
            <a:extLst>
              <a:ext uri="{FF2B5EF4-FFF2-40B4-BE49-F238E27FC236}">
                <a16:creationId xmlns:a16="http://schemas.microsoft.com/office/drawing/2014/main" id="{CACBBA8F-BBEA-41AD-B21B-BD7C38F5B7F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9845118" y="579624"/>
          <a:ext cx="2237552" cy="2103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37552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31376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Bez očkování nebo </a:t>
                      </a:r>
                    </a:p>
                    <a:p>
                      <a:r>
                        <a:rPr lang="cs-CZ" sz="1600" dirty="0"/>
                        <a:t>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bez posilující dávk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s posilující dávko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753142"/>
                  </a:ext>
                </a:extLst>
              </a:tr>
            </a:tbl>
          </a:graphicData>
        </a:graphic>
      </p:graphicFrame>
      <p:grpSp>
        <p:nvGrpSpPr>
          <p:cNvPr id="15" name="Skupina 14">
            <a:extLst>
              <a:ext uri="{FF2B5EF4-FFF2-40B4-BE49-F238E27FC236}">
                <a16:creationId xmlns:a16="http://schemas.microsoft.com/office/drawing/2014/main" id="{872AF8AF-6F56-4654-870F-CC97618FC514}"/>
              </a:ext>
            </a:extLst>
          </p:cNvPr>
          <p:cNvGrpSpPr/>
          <p:nvPr/>
        </p:nvGrpSpPr>
        <p:grpSpPr>
          <a:xfrm>
            <a:off x="9343603" y="1218878"/>
            <a:ext cx="501515" cy="1254265"/>
            <a:chOff x="8290713" y="1759987"/>
            <a:chExt cx="501515" cy="1250887"/>
          </a:xfrm>
        </p:grpSpPr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3B83C382-2FF8-46A5-B7B1-F5A2112B8FAF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3010874"/>
              <a:ext cx="496800" cy="0"/>
            </a:xfrm>
            <a:prstGeom prst="line">
              <a:avLst/>
            </a:prstGeom>
            <a:ln w="50800" cmpd="sng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ABE03C28-DF98-4D7D-A364-9A2532B5B629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2348462"/>
              <a:ext cx="496800" cy="0"/>
            </a:xfrm>
            <a:prstGeom prst="line">
              <a:avLst/>
            </a:prstGeom>
            <a:ln w="50800" cmpd="sng">
              <a:solidFill>
                <a:srgbClr val="517BC8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5577C716-2DF1-4C4D-A449-470CCD1CF044}"/>
                </a:ext>
              </a:extLst>
            </p:cNvPr>
            <p:cNvCxnSpPr>
              <a:cxnSpLocks/>
            </p:cNvCxnSpPr>
            <p:nvPr/>
          </p:nvCxnSpPr>
          <p:spPr>
            <a:xfrm>
              <a:off x="8295428" y="1759987"/>
              <a:ext cx="496800" cy="0"/>
            </a:xfrm>
            <a:prstGeom prst="line">
              <a:avLst/>
            </a:prstGeom>
            <a:ln w="50800" cmpd="sng">
              <a:solidFill>
                <a:srgbClr val="C4111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275644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- sestry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350326" y="561308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sester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44D16114-8A1C-47F6-83C5-8DA746CAC7CE}"/>
              </a:ext>
            </a:extLst>
          </p:cNvPr>
          <p:cNvSpPr txBox="1"/>
          <p:nvPr/>
        </p:nvSpPr>
        <p:spPr>
          <a:xfrm>
            <a:off x="262533" y="5170944"/>
            <a:ext cx="1176521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významně klesá, což je mimo jiné i důsledek nastupujícího šíření varianty Omikron. Avšak posilující dávka vrací ochranu proti nákaze zpět nad hodnotu 70% až 85%. Zdravotničtí pracovníci jsou v tomto ohledu velmi důležitý model,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4" name="Table 5">
            <a:extLst>
              <a:ext uri="{FF2B5EF4-FFF2-40B4-BE49-F238E27FC236}">
                <a16:creationId xmlns:a16="http://schemas.microsoft.com/office/drawing/2014/main" id="{DBDE52E0-8E30-4B1B-A76C-0ABFEF8BBF62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7095966"/>
              </p:ext>
            </p:extLst>
          </p:nvPr>
        </p:nvGraphicFramePr>
        <p:xfrm>
          <a:off x="674256" y="535252"/>
          <a:ext cx="11145281" cy="4377040"/>
        </p:xfrm>
        <a:graphic>
          <a:graphicData uri="http://schemas.openxmlformats.org/drawingml/2006/table">
            <a:tbl>
              <a:tblPr/>
              <a:tblGrid>
                <a:gridCol w="1560945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1791855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1838036">
                  <a:extLst>
                    <a:ext uri="{9D8B030D-6E8A-4147-A177-3AD203B41FA5}">
                      <a16:colId xmlns:a16="http://schemas.microsoft.com/office/drawing/2014/main" val="205287478"/>
                    </a:ext>
                  </a:extLst>
                </a:gridCol>
                <a:gridCol w="1930400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  <a:gridCol w="1788845">
                  <a:extLst>
                    <a:ext uri="{9D8B030D-6E8A-4147-A177-3AD203B41FA5}">
                      <a16:colId xmlns:a16="http://schemas.microsoft.com/office/drawing/2014/main" val="366910284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posilující dávk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posilující dávk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BEZ posilující dávky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S posilující dávkou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2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9.3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5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9.5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556878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3.9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7848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9.0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-Říj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4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4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4.8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4.7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31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6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5.1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1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6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9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8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1.0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4.4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7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6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Krátká doba sled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Krátká doba sled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5" name="TextBox 6">
            <a:extLst>
              <a:ext uri="{FF2B5EF4-FFF2-40B4-BE49-F238E27FC236}">
                <a16:creationId xmlns:a16="http://schemas.microsoft.com/office/drawing/2014/main" id="{DE4A7D31-ECFC-4E0A-8E3B-1299FAD0486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74256" y="4860403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14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2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677954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232925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: populace ostatních ZP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444630" y="1272618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ZP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BCA7FE2D-9A22-4E27-8AAD-76AB5CBA288B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Tabulka 6">
            <a:extLst>
              <a:ext uri="{FF2B5EF4-FFF2-40B4-BE49-F238E27FC236}">
                <a16:creationId xmlns:a16="http://schemas.microsoft.com/office/drawing/2014/main" id="{7F64D008-F028-4889-A8FF-23078BA63F9F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9954448" y="579624"/>
          <a:ext cx="2237552" cy="2103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37552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31376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Bez očkování nebo </a:t>
                      </a:r>
                    </a:p>
                    <a:p>
                      <a:r>
                        <a:rPr lang="cs-CZ" sz="1600" dirty="0"/>
                        <a:t>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bez posilující dávk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s posilující dávko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753142"/>
                  </a:ext>
                </a:extLst>
              </a:tr>
            </a:tbl>
          </a:graphicData>
        </a:graphic>
      </p:graphicFrame>
      <p:grpSp>
        <p:nvGrpSpPr>
          <p:cNvPr id="15" name="Skupina 14">
            <a:extLst>
              <a:ext uri="{FF2B5EF4-FFF2-40B4-BE49-F238E27FC236}">
                <a16:creationId xmlns:a16="http://schemas.microsoft.com/office/drawing/2014/main" id="{D5AA6126-8EEA-4823-8FCD-F259CFEF37F9}"/>
              </a:ext>
            </a:extLst>
          </p:cNvPr>
          <p:cNvGrpSpPr/>
          <p:nvPr/>
        </p:nvGrpSpPr>
        <p:grpSpPr>
          <a:xfrm>
            <a:off x="9452933" y="1218878"/>
            <a:ext cx="501515" cy="1254265"/>
            <a:chOff x="8290713" y="1759987"/>
            <a:chExt cx="501515" cy="1250887"/>
          </a:xfrm>
        </p:grpSpPr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AD889D77-74E3-4CE5-80F3-04C4B29F334B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3010874"/>
              <a:ext cx="496800" cy="0"/>
            </a:xfrm>
            <a:prstGeom prst="line">
              <a:avLst/>
            </a:prstGeom>
            <a:ln w="50800" cmpd="sng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30C53E4B-0409-431F-98B7-4CEE86F15841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2348462"/>
              <a:ext cx="496800" cy="0"/>
            </a:xfrm>
            <a:prstGeom prst="line">
              <a:avLst/>
            </a:prstGeom>
            <a:ln w="50800" cmpd="sng">
              <a:solidFill>
                <a:srgbClr val="517BC8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E58D57F3-8815-4584-AB1E-6AEFFDDE0EDF}"/>
                </a:ext>
              </a:extLst>
            </p:cNvPr>
            <p:cNvCxnSpPr>
              <a:cxnSpLocks/>
            </p:cNvCxnSpPr>
            <p:nvPr/>
          </p:nvCxnSpPr>
          <p:spPr>
            <a:xfrm>
              <a:off x="8295428" y="1759987"/>
              <a:ext cx="496800" cy="0"/>
            </a:xfrm>
            <a:prstGeom prst="line">
              <a:avLst/>
            </a:prstGeom>
            <a:ln w="50800" cmpd="sng">
              <a:solidFill>
                <a:srgbClr val="C4111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5651734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le 5">
            <a:extLst>
              <a:ext uri="{FF2B5EF4-FFF2-40B4-BE49-F238E27FC236}">
                <a16:creationId xmlns:a16="http://schemas.microsoft.com/office/drawing/2014/main" id="{F5669648-2D21-4633-9BDF-C8D1493F629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1574926"/>
              </p:ext>
            </p:extLst>
          </p:nvPr>
        </p:nvGraphicFramePr>
        <p:xfrm>
          <a:off x="674256" y="673357"/>
          <a:ext cx="11145281" cy="4377040"/>
        </p:xfrm>
        <a:graphic>
          <a:graphicData uri="http://schemas.openxmlformats.org/drawingml/2006/table">
            <a:tbl>
              <a:tblPr/>
              <a:tblGrid>
                <a:gridCol w="1560945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1791855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1838036">
                  <a:extLst>
                    <a:ext uri="{9D8B030D-6E8A-4147-A177-3AD203B41FA5}">
                      <a16:colId xmlns:a16="http://schemas.microsoft.com/office/drawing/2014/main" val="205287478"/>
                    </a:ext>
                  </a:extLst>
                </a:gridCol>
                <a:gridCol w="1930400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  <a:gridCol w="1788845">
                  <a:extLst>
                    <a:ext uri="{9D8B030D-6E8A-4147-A177-3AD203B41FA5}">
                      <a16:colId xmlns:a16="http://schemas.microsoft.com/office/drawing/2014/main" val="366910284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posilující dávk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posilující dávk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BEZ posilující dávky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S posilující dávkou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4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2.9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0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1.5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2492365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4.6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7848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5.2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-Říj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5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3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6.4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2.4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74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3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9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9.1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9.0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77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1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8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7.0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7.4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d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5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6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6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Krátká doba sled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Krátká doba sled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ostatní ZP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479634" y="673357"/>
            <a:ext cx="43325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ostatních ZP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AC4C7860-74B9-47D2-87FF-FCD709F5F14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2533" y="5240236"/>
            <a:ext cx="1176521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významně klesá, což je mimo jiné i důsledek nastupujícího šíření varianty Omikron. Avšak posilující dávka vrací ochranu proti nákaze zpět nad hodnotu 70% až 85%. Zdravotničtí pracovníci jsou v tomto ohledu velmi důležitý model,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3352018E-4B8D-4BC1-8111-7070241D5BB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74256" y="5026659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14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2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51423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</a:t>
            </a:r>
            <a:r>
              <a:rPr lang="cs-CZ" u="sng" dirty="0"/>
              <a:t>celkem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7361325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7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3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5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0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 3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 7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5 6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4 1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7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4. 1. 2022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0C7B47A-DD4D-4AD1-9492-34EAE5D35895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46255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ZP celkem 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888805" y="1376200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P celkem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C0D3B3-E868-48ED-8B20-E96346203717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Tabulka 6">
            <a:extLst>
              <a:ext uri="{FF2B5EF4-FFF2-40B4-BE49-F238E27FC236}">
                <a16:creationId xmlns:a16="http://schemas.microsoft.com/office/drawing/2014/main" id="{75D422DF-F902-4FEB-95E0-74A260757A7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9954448" y="579624"/>
          <a:ext cx="2237552" cy="2103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37552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31376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Bez očkování nebo </a:t>
                      </a:r>
                    </a:p>
                    <a:p>
                      <a:r>
                        <a:rPr lang="cs-CZ" sz="1600" dirty="0"/>
                        <a:t>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bez posilující dávk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s posilující dávko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753142"/>
                  </a:ext>
                </a:extLst>
              </a:tr>
            </a:tbl>
          </a:graphicData>
        </a:graphic>
      </p:graphicFrame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7CE6062-A746-4B16-BD2A-949B93077515}"/>
              </a:ext>
            </a:extLst>
          </p:cNvPr>
          <p:cNvGrpSpPr/>
          <p:nvPr/>
        </p:nvGrpSpPr>
        <p:grpSpPr>
          <a:xfrm>
            <a:off x="9452933" y="1218878"/>
            <a:ext cx="501515" cy="1254265"/>
            <a:chOff x="8290713" y="1759987"/>
            <a:chExt cx="501515" cy="1250887"/>
          </a:xfrm>
        </p:grpSpPr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EF37563C-7EBE-4F25-BEB6-D430463D6421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3010874"/>
              <a:ext cx="496800" cy="0"/>
            </a:xfrm>
            <a:prstGeom prst="line">
              <a:avLst/>
            </a:prstGeom>
            <a:ln w="50800" cmpd="sng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C8167A6-4279-4A9B-B47B-88A5FD918BA6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2348462"/>
              <a:ext cx="496800" cy="0"/>
            </a:xfrm>
            <a:prstGeom prst="line">
              <a:avLst/>
            </a:prstGeom>
            <a:ln w="50800" cmpd="sng">
              <a:solidFill>
                <a:srgbClr val="517BC8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FAA41837-EA61-4D95-BFBF-CF1F1DFE6706}"/>
                </a:ext>
              </a:extLst>
            </p:cNvPr>
            <p:cNvCxnSpPr>
              <a:cxnSpLocks/>
            </p:cNvCxnSpPr>
            <p:nvPr/>
          </p:nvCxnSpPr>
          <p:spPr>
            <a:xfrm>
              <a:off x="8295428" y="1759987"/>
              <a:ext cx="496800" cy="0"/>
            </a:xfrm>
            <a:prstGeom prst="line">
              <a:avLst/>
            </a:prstGeom>
            <a:ln w="50800" cmpd="sng">
              <a:solidFill>
                <a:srgbClr val="C4111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9003062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ZP celkem 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35052" y="584090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ZP celkem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007B7F61-2FDD-429A-A54E-2F0F9482D1BE}"/>
              </a:ext>
            </a:extLst>
          </p:cNvPr>
          <p:cNvSpPr txBox="1"/>
          <p:nvPr/>
        </p:nvSpPr>
        <p:spPr>
          <a:xfrm>
            <a:off x="262533" y="5249581"/>
            <a:ext cx="1176521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významně klesá, což je mimo jiné i důsledek nastupujícího šíření varianty Omikron. Avšak posilující dávka vrací ochranu proti nákaze zpět nad hodnotu 70% až 85%. Zdravotničtí pracovníci jsou v tomto ohledu velmi důležitý model,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4" name="Table 5">
            <a:extLst>
              <a:ext uri="{FF2B5EF4-FFF2-40B4-BE49-F238E27FC236}">
                <a16:creationId xmlns:a16="http://schemas.microsoft.com/office/drawing/2014/main" id="{EE7F0968-1D74-454A-B8F1-2CA82A377390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41205971"/>
              </p:ext>
            </p:extLst>
          </p:nvPr>
        </p:nvGraphicFramePr>
        <p:xfrm>
          <a:off x="674256" y="597598"/>
          <a:ext cx="11145281" cy="4377040"/>
        </p:xfrm>
        <a:graphic>
          <a:graphicData uri="http://schemas.openxmlformats.org/drawingml/2006/table">
            <a:tbl>
              <a:tblPr/>
              <a:tblGrid>
                <a:gridCol w="1560945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1791855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1838036">
                  <a:extLst>
                    <a:ext uri="{9D8B030D-6E8A-4147-A177-3AD203B41FA5}">
                      <a16:colId xmlns:a16="http://schemas.microsoft.com/office/drawing/2014/main" val="205287478"/>
                    </a:ext>
                  </a:extLst>
                </a:gridCol>
                <a:gridCol w="1930400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  <a:gridCol w="1788845">
                  <a:extLst>
                    <a:ext uri="{9D8B030D-6E8A-4147-A177-3AD203B41FA5}">
                      <a16:colId xmlns:a16="http://schemas.microsoft.com/office/drawing/2014/main" val="366910284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posilující dávk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posilující dávk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BEZ posilující dávky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S posilující dávkou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3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0.7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5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9.1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9917005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2.3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7848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4.2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-Říj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1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5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.8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2.7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65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5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5.0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2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2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5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4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1.6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5.3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d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8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Krátká doba sled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Krátká doba sled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5" name="TextBox 6">
            <a:extLst>
              <a:ext uri="{FF2B5EF4-FFF2-40B4-BE49-F238E27FC236}">
                <a16:creationId xmlns:a16="http://schemas.microsoft.com/office/drawing/2014/main" id="{3EDE584E-BB60-4C91-9FF4-DB13B13336B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74256" y="4943531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14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2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665524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97398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říloh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pracovníků sociálních služeb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přímé hlášení od poskytovatelů)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538267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nově COVID-19 pozitivních pracovníků </a:t>
            </a:r>
            <a:br>
              <a:rPr lang="cs-CZ" dirty="0"/>
            </a:br>
            <a:r>
              <a:rPr lang="cs-CZ" dirty="0"/>
              <a:t>v zařízeních sociálních služeb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/>
        </p:nvGraphicFramePr>
        <p:xfrm>
          <a:off x="407350" y="1059679"/>
          <a:ext cx="8523006" cy="548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941446" y="3165866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Denní počet nových případů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270C58A-BB49-4257-8406-1CEB47E406EE}"/>
              </a:ext>
            </a:extLst>
          </p:cNvPr>
          <p:cNvGraphicFramePr>
            <a:graphicFrameLocks noGrp="1"/>
          </p:cNvGraphicFramePr>
          <p:nvPr/>
        </p:nvGraphicFramePr>
        <p:xfrm>
          <a:off x="9060412" y="1207371"/>
          <a:ext cx="2763052" cy="5050096"/>
        </p:xfrm>
        <a:graphic>
          <a:graphicData uri="http://schemas.openxmlformats.org/drawingml/2006/table">
            <a:tbl>
              <a:tblPr/>
              <a:tblGrid>
                <a:gridCol w="1675629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08742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203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 posledních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enní klouzavý 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011470"/>
                  </a:ext>
                </a:extLst>
              </a:tr>
            </a:tbl>
          </a:graphicData>
        </a:graphic>
      </p:graphicFrame>
      <p:sp>
        <p:nvSpPr>
          <p:cNvPr id="9" name="Obdélník 4">
            <a:extLst>
              <a:ext uri="{FF2B5EF4-FFF2-40B4-BE49-F238E27FC236}">
                <a16:creationId xmlns:a16="http://schemas.microsoft.com/office/drawing/2014/main" id="{81867BFA-1453-40BE-A29B-836824A9B5EE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ých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4. 1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4">
            <a:extLst>
              <a:ext uri="{FF2B5EF4-FFF2-40B4-BE49-F238E27FC236}">
                <a16:creationId xmlns:a16="http://schemas.microsoft.com/office/drawing/2014/main" id="{FC15B3FD-8931-45F3-B9FA-489831BF4CD0}"/>
              </a:ext>
            </a:extLst>
          </p:cNvPr>
          <p:cNvCxnSpPr/>
          <p:nvPr/>
        </p:nvCxnSpPr>
        <p:spPr>
          <a:xfrm>
            <a:off x="1075769" y="1393737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98F82CC0-F179-44D1-AED9-4C8CAA8FCD8F}"/>
              </a:ext>
            </a:extLst>
          </p:cNvPr>
          <p:cNvSpPr txBox="1"/>
          <p:nvPr/>
        </p:nvSpPr>
        <p:spPr>
          <a:xfrm>
            <a:off x="1438027" y="1224463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97805427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27676BE-FED5-4891-A49E-5B33074F0EA5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1407510" y="1169485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802892" cy="576000"/>
          </a:xfrm>
        </p:spPr>
        <p:txBody>
          <a:bodyPr/>
          <a:lstStyle/>
          <a:p>
            <a:r>
              <a:rPr lang="cs-CZ" dirty="0"/>
              <a:t>Počty COVID-19 pozitivních na 100 000 osob v populaci pracovníků v sociálních službách</a:t>
            </a:r>
            <a:r>
              <a:rPr lang="en-US" dirty="0"/>
              <a:t>*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856023"/>
            <a:ext cx="1438102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pracovníků v sociálních službách (suma za hodnocený časový úsek)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98FA2216-F217-4BAB-A9D1-49D7EE7FFB73}"/>
              </a:ext>
            </a:extLst>
          </p:cNvPr>
          <p:cNvSpPr txBox="1"/>
          <p:nvPr/>
        </p:nvSpPr>
        <p:spPr>
          <a:xfrm>
            <a:off x="245294" y="6380943"/>
            <a:ext cx="119467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ci v zařízeních, které zadávají informace do sociálního modulu ISIN, což odpovídá asi 8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v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861213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4. 1. 2022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0575459"/>
              </p:ext>
            </p:extLst>
          </p:nvPr>
        </p:nvGraphicFramePr>
        <p:xfrm>
          <a:off x="356585" y="1390934"/>
          <a:ext cx="11273439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7727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6469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0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 8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9 0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3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1800" dirty="0"/>
              <a:t>Očkování zdravotnických pracovníků – počty očkovaných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049215" y="2820163"/>
            <a:ext cx="4681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očkovaných (alespoň první dávka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23519900"/>
              </p:ext>
            </p:extLst>
          </p:nvPr>
        </p:nvGraphicFramePr>
        <p:xfrm>
          <a:off x="561974" y="759913"/>
          <a:ext cx="11377929" cy="498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9491764"/>
              </p:ext>
            </p:extLst>
          </p:nvPr>
        </p:nvGraphicFramePr>
        <p:xfrm>
          <a:off x="10344150" y="2181222"/>
          <a:ext cx="1595753" cy="2352680"/>
        </p:xfrm>
        <a:graphic>
          <a:graphicData uri="http://schemas.openxmlformats.org/drawingml/2006/table">
            <a:tbl>
              <a:tblPr/>
              <a:tblGrid>
                <a:gridCol w="994535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601218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P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 1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664348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st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0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Z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 7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ékař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3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25C2658B-5F4D-4E25-809A-B07FC20B8E8A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0397ABA-C686-444D-9A37-CA5AF71FAD64}"/>
              </a:ext>
            </a:extLst>
          </p:cNvPr>
          <p:cNvSpPr txBox="1"/>
          <p:nvPr/>
        </p:nvSpPr>
        <p:spPr>
          <a:xfrm>
            <a:off x="257785" y="5774033"/>
            <a:ext cx="1180086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hrnuty jsou zdravotničtí pracovníci (ZP) podle hlášení povinných subjektů do NRZP (vzdělávací instituce, poskytovatelé). Celkový počet ZP zahrnuje osoby s odpovídající odbornou způsobilostí pro výkony povolání ZP* žijící k danému datu. Výstup nezohledňuje, zda daný ZP skutečně vykonává dané povolání v ČR. Zahrnuti jsou i ZP v seniorním, důchodovém, věku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</p:txBody>
      </p:sp>
    </p:spTree>
    <p:extLst>
      <p:ext uri="{BB962C8B-B14F-4D97-AF65-F5344CB8AC3E}">
        <p14:creationId xmlns:p14="http://schemas.microsoft.com/office/powerpoint/2010/main" val="5633389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silující dávkou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4. 1. 2022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5F5D353-1230-45A8-9016-8A9D8618F6E5}"/>
              </a:ext>
            </a:extLst>
          </p:cNvPr>
          <p:cNvSpPr/>
          <p:nvPr/>
        </p:nvSpPr>
        <p:spPr>
          <a:xfrm>
            <a:off x="252076" y="600164"/>
            <a:ext cx="35317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ktivní zdravotničtí pracovníci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42B2FDB-F20E-40AA-ADF4-05FC4E7F4BF6}"/>
              </a:ext>
            </a:extLst>
          </p:cNvPr>
          <p:cNvSpPr txBox="1"/>
          <p:nvPr/>
        </p:nvSpPr>
        <p:spPr>
          <a:xfrm>
            <a:off x="252076" y="6023223"/>
            <a:ext cx="115613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dravotnických pracovníků (ZP) dle hlášení povinných subjektů do Národního registru zdravotnických pracovníků – NRZP (vzdělávací instituce, poskytovatelé). Celkový počet ZP zahrnuje osoby s odpovídající odbornou způsobilostí pro výkony ZP a žijící k danému datu. V této analýze jsou zahrnuti ZP, u kterých poskytovatelé zdravotních služeb nahlásili jejich aktivní výkon zaměstnání 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období od 1.9.2021 do současnosti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v ambulantním sektoru mohou být tyto počty mírně nedohlášené). 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7918BD6-47A7-4629-B00F-7C350B485540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106F417-40A8-41A4-A3D6-B22D419501BE}"/>
              </a:ext>
            </a:extLst>
          </p:cNvPr>
          <p:cNvSpPr/>
          <p:nvPr/>
        </p:nvSpPr>
        <p:spPr>
          <a:xfrm>
            <a:off x="252076" y="5668681"/>
            <a:ext cx="915827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Přeočkování posilující dávkou je možné pro osoby, které mají nejméně 6 měsíců (v této analýze 182 dnů) po aplikaci ukončovací (druhé) dávk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Jeden zdravotnický pracovník může působit ve více krajích, do celkového počtu je zahrnut pouze jednou. </a:t>
            </a:r>
          </a:p>
        </p:txBody>
      </p:sp>
      <p:graphicFrame>
        <p:nvGraphicFramePr>
          <p:cNvPr id="10" name="Table 2">
            <a:extLst>
              <a:ext uri="{FF2B5EF4-FFF2-40B4-BE49-F238E27FC236}">
                <a16:creationId xmlns:a16="http://schemas.microsoft.com/office/drawing/2014/main" id="{300A08B3-B18A-4DE9-97BC-1912730507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3902566"/>
              </p:ext>
            </p:extLst>
          </p:nvPr>
        </p:nvGraphicFramePr>
        <p:xfrm>
          <a:off x="315344" y="958340"/>
          <a:ext cx="11561311" cy="4698672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44287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21640643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10018221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75965970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76749286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82608376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773291409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49718640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41392143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843981191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182885545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067111112"/>
                    </a:ext>
                  </a:extLst>
                </a:gridCol>
              </a:tblGrid>
              <a:tr h="61364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dravotničtí pracovníci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ékař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včetně zubních lékařů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stry</a:t>
                      </a:r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tatní zdravotničtí pracovníci </a:t>
                      </a:r>
                    </a:p>
                    <a:p>
                      <a:pPr algn="ctr" fontAlgn="ctr"/>
                      <a:r>
                        <a:rPr lang="cs-CZ" sz="10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LZP § 7 až § 42 kromě § 21b, farmaceuti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3287447"/>
                  </a:ext>
                </a:extLst>
              </a:tr>
              <a:tr h="60099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podle místa působení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8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8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9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1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1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Jihoče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Plzeň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Ústec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7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8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335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0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7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2116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8 5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 4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4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9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 8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 2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 3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2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2678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4. 1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36579048-BB0C-4A41-91BF-EE6AEF0D25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1152272"/>
              </p:ext>
            </p:extLst>
          </p:nvPr>
        </p:nvGraphicFramePr>
        <p:xfrm>
          <a:off x="337535" y="1200434"/>
          <a:ext cx="11516932" cy="4496159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910490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104900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85343374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89722905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4290228433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5169759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50319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dirty="0"/>
                        <a:t>Zdravotničtí pracovníci evidovaní v NZIS podle pracovních pozic*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effectLst/>
                        </a:rPr>
                        <a:t>Počet zdravotnických pracovníků**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čkovaní celkem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posilují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ukončova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ouze s 1.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rodělali onemocně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stat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včetně zubních lékařů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54 (88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917 (7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83 (17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4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4 (2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15 (9,4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5101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097 (83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 271 (55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836 (27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0 (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49 (7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50 (8,8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 877 (81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269 (50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785 (30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3 (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93 (7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18 (11,2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31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72 (79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67 (50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64 (28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 (1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1 (7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1 (13,0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54 (80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23 (46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0 (32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(1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4 (9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5 (10,1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2 (82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907 (49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62 (31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 (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1 (8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53 (9,9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32 (86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91 (61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9 (24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(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1 (5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9 (8,1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84 (76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10 (45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06 (30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 (0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2 (9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1 (14,2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462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13 (82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91 (51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20 (30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(0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3 (7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6 (10,0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52 (81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75 (50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03 (30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 (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8 (7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27 (11,4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CELKEM*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9 028 (83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1 457 (56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5 504 (26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 067 (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 566 (6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 483 (9,8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67815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4. 1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57D8B5EC-D4C4-4142-B9B3-D668437D75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59573498"/>
              </p:ext>
            </p:extLst>
          </p:nvPr>
        </p:nvGraphicFramePr>
        <p:xfrm>
          <a:off x="847725" y="981075"/>
          <a:ext cx="10696575" cy="492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5E273B3-595D-4506-8111-3C0DC2F8EF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6186634"/>
              </p:ext>
            </p:extLst>
          </p:nvPr>
        </p:nvGraphicFramePr>
        <p:xfrm>
          <a:off x="11229975" y="1724026"/>
          <a:ext cx="824515" cy="3975389"/>
        </p:xfrm>
        <a:graphic>
          <a:graphicData uri="http://schemas.openxmlformats.org/drawingml/2006/table">
            <a:tbl>
              <a:tblPr firstRow="1" lastRow="1" bandRow="1"/>
              <a:tblGrid>
                <a:gridCol w="824515">
                  <a:extLst>
                    <a:ext uri="{9D8B030D-6E8A-4147-A177-3AD203B41FA5}">
                      <a16:colId xmlns:a16="http://schemas.microsoft.com/office/drawing/2014/main" val="2631467471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2 2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5623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5 2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74389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2 4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82854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2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18676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 6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715713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 8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06593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5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8268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2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28598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6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71299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1 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67027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0 0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601955"/>
                  </a:ext>
                </a:extLst>
              </a:tr>
            </a:tbl>
          </a:graphicData>
        </a:graphic>
      </p:graphicFrame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4AA833D1-7B4A-4D1C-A2B1-06653D5E7670}"/>
              </a:ext>
            </a:extLst>
          </p:cNvPr>
          <p:cNvGraphicFramePr>
            <a:graphicFrameLocks noGrp="1"/>
          </p:cNvGraphicFramePr>
          <p:nvPr/>
        </p:nvGraphicFramePr>
        <p:xfrm>
          <a:off x="257786" y="1724025"/>
          <a:ext cx="2342539" cy="3975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42539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včetně zubních lékařů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54710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520</TotalTime>
  <Words>10499</Words>
  <Application>Microsoft Office PowerPoint</Application>
  <PresentationFormat>Širokoúhlá obrazovka</PresentationFormat>
  <Paragraphs>2325</Paragraphs>
  <Slides>44</Slides>
  <Notes>27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44</vt:i4>
      </vt:variant>
    </vt:vector>
  </HeadingPairs>
  <TitlesOfParts>
    <vt:vector size="51" baseType="lpstr">
      <vt:lpstr>Arial</vt:lpstr>
      <vt:lpstr>Calibri</vt:lpstr>
      <vt:lpstr>Calibri Light</vt:lpstr>
      <vt:lpstr>Motiv Office</vt:lpstr>
      <vt:lpstr>3_Motiv Office</vt:lpstr>
      <vt:lpstr>1_Motiv Office</vt:lpstr>
      <vt:lpstr>2_Motiv Office</vt:lpstr>
      <vt:lpstr>Prezentace aplikace PowerPoint</vt:lpstr>
      <vt:lpstr>Prezentace aplikace PowerPoint</vt:lpstr>
      <vt:lpstr>Očkování zdravotnických pracovníků </vt:lpstr>
      <vt:lpstr>Očkovaní zdravotničtí pracovníci celkem</vt:lpstr>
      <vt:lpstr>Očkovaní aktivní zdravotničtí pracovníci</vt:lpstr>
      <vt:lpstr>Očkování zdravotnických pracovníků – počty očkovaných v čase</vt:lpstr>
      <vt:lpstr>Vakcinace posilující dávkou</vt:lpstr>
      <vt:lpstr>Očkovaní aktivní zdravotničtí pracovníci</vt:lpstr>
      <vt:lpstr>Očkovaní aktivní zdravotničtí pracovníci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/2021 – 01/2022</vt:lpstr>
      <vt:lpstr>Přehled povolání u COVID-19 pozitivních ostatních zdravotnických pracovníků za období 10/2021 – 01/2022</vt:lpstr>
      <vt:lpstr>Přehled povolání u COVID-19 pozitivních ostatních zdravotnických pracovníků za období 01/2022</vt:lpstr>
      <vt:lpstr>Očkovaní aktivní zdravotničtí pracovníci</vt:lpstr>
      <vt:lpstr>Očkovaní NLZP v nemocnicích akutní lůžkové péče a ZZS</vt:lpstr>
      <vt:lpstr>Očkovaní lékaři* podle typu zdravotnického zařízení</vt:lpstr>
      <vt:lpstr>Očkované sestry* podle typu zdravotnického zařízení</vt:lpstr>
      <vt:lpstr>Očkovaní ostatní ZP* podle typu zdravotnického zařízení</vt:lpstr>
      <vt:lpstr>Prezentace aplikace PowerPoint</vt:lpstr>
      <vt:lpstr>Počty pracovníků ve zdravotnictví s nákazou COVID-19</vt:lpstr>
      <vt:lpstr>Počty pracovníků ve zdravotnictví s nákazou COVID-19</vt:lpstr>
      <vt:lpstr>Prezentace aplikace PowerPoint</vt:lpstr>
      <vt:lpstr>Počty COVID-19 pozitivních na 100 000 osob v populaci lékařů</vt:lpstr>
      <vt:lpstr>Prezentace aplikace PowerPoint</vt:lpstr>
      <vt:lpstr>Počty COVID-19 pozitivních na 100 000 osob v populaci sester</vt:lpstr>
      <vt:lpstr>Prezentace aplikace PowerPoint</vt:lpstr>
      <vt:lpstr>Počty COVID-19 pozitivních na 100 000 osob v populaci ostatních ZP</vt:lpstr>
      <vt:lpstr>Prezentace aplikace PowerPoint</vt:lpstr>
      <vt:lpstr>Počty pracovníků ve zdravotnictví s nákazou COVID-19</vt:lpstr>
      <vt:lpstr>Počty pracovníků ve zdravotnictví (ZP) s nákazou COVID-19</vt:lpstr>
      <vt:lpstr>Prezentace aplikace PowerPoint</vt:lpstr>
      <vt:lpstr>Počet nových případů COVID-19 na 100 tis. dané kategorie v populaci lékařů</vt:lpstr>
      <vt:lpstr>Prezentace aplikace PowerPoint</vt:lpstr>
      <vt:lpstr>Počet nových případů COVID-19 na 100 tis. dané kategorie v populaci sester</vt:lpstr>
      <vt:lpstr>Prezentace aplikace PowerPoint</vt:lpstr>
      <vt:lpstr>Počet nových případů COVID-19 na 100 tis. dané kategorie: populace ostatních ZP</vt:lpstr>
      <vt:lpstr>Prezentace aplikace PowerPoint</vt:lpstr>
      <vt:lpstr>Počet nových případů COVID-19 na 100 tis. dané kategorie v populaci ZP celkem </vt:lpstr>
      <vt:lpstr>Prezentace aplikace PowerPoint</vt:lpstr>
      <vt:lpstr>Prezentace aplikace PowerPoint</vt:lpstr>
      <vt:lpstr>Počty nově COVID-19 pozitivních pracovníků  v zařízeních sociálních služeb</vt:lpstr>
      <vt:lpstr>Počty COVID-19 pozitivních na 100 000 osob v populaci pracovníků v sociálních službách*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841</cp:revision>
  <dcterms:created xsi:type="dcterms:W3CDTF">2020-11-11T17:36:28Z</dcterms:created>
  <dcterms:modified xsi:type="dcterms:W3CDTF">2022-01-16T17:19:24Z</dcterms:modified>
</cp:coreProperties>
</file>